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4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5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6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7.xml" ContentType="application/vnd.openxmlformats-officedocument.theme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theme/theme8.xml" ContentType="application/vnd.openxmlformats-officedocument.theme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9.xml" ContentType="application/vnd.openxmlformats-officedocument.theme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theme/theme11.xml" ContentType="application/vnd.openxmlformats-officedocument.theme+xml"/>
  <Override PartName="/ppt/slideLayouts/slideLayout471.xml" ContentType="application/vnd.openxmlformats-officedocument.presentationml.slideLayout+xml"/>
  <Override PartName="/ppt/theme/theme12.xml" ContentType="application/vnd.openxmlformats-officedocument.theme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4618" r:id="rId5"/>
    <p:sldMasterId id="2147483737" r:id="rId6"/>
    <p:sldMasterId id="2147483785" r:id="rId7"/>
    <p:sldMasterId id="2147483931" r:id="rId8"/>
    <p:sldMasterId id="2147483969" r:id="rId9"/>
    <p:sldMasterId id="2147484018" r:id="rId10"/>
    <p:sldMasterId id="2147484294" r:id="rId11"/>
    <p:sldMasterId id="2147484428" r:id="rId12"/>
    <p:sldMasterId id="2147484504" r:id="rId13"/>
    <p:sldMasterId id="2147484552" r:id="rId14"/>
    <p:sldMasterId id="2147484601" r:id="rId15"/>
    <p:sldMasterId id="2147484603" r:id="rId16"/>
  </p:sldMasterIdLst>
  <p:notesMasterIdLst>
    <p:notesMasterId r:id="rId40"/>
  </p:notesMasterIdLst>
  <p:handoutMasterIdLst>
    <p:handoutMasterId r:id="rId41"/>
  </p:handoutMasterIdLst>
  <p:sldIdLst>
    <p:sldId id="2147470349" r:id="rId17"/>
    <p:sldId id="2147470358" r:id="rId18"/>
    <p:sldId id="2147470361" r:id="rId19"/>
    <p:sldId id="2147470339" r:id="rId20"/>
    <p:sldId id="2147470363" r:id="rId21"/>
    <p:sldId id="2147470354" r:id="rId22"/>
    <p:sldId id="2147470360" r:id="rId23"/>
    <p:sldId id="2147470356" r:id="rId24"/>
    <p:sldId id="2147470372" r:id="rId25"/>
    <p:sldId id="2147470371" r:id="rId26"/>
    <p:sldId id="2147470353" r:id="rId27"/>
    <p:sldId id="2147470352" r:id="rId28"/>
    <p:sldId id="2147470370" r:id="rId29"/>
    <p:sldId id="2147470351" r:id="rId30"/>
    <p:sldId id="2147470343" r:id="rId31"/>
    <p:sldId id="2147470337" r:id="rId32"/>
    <p:sldId id="2147470269" r:id="rId33"/>
    <p:sldId id="2147470374" r:id="rId34"/>
    <p:sldId id="2147470365" r:id="rId35"/>
    <p:sldId id="2147470366" r:id="rId36"/>
    <p:sldId id="2147470373" r:id="rId37"/>
    <p:sldId id="2147470367" r:id="rId38"/>
    <p:sldId id="2147470350" r:id="rId39"/>
  </p:sldIdLst>
  <p:sldSz cx="12192000" cy="6858000"/>
  <p:notesSz cx="6858000" cy="9144000"/>
  <p:embeddedFontLs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MetricHPE" panose="020B0604020202020204" charset="0"/>
      <p:regular r:id="rId46"/>
      <p:bold r:id="rId47"/>
      <p:italic r:id="rId48"/>
      <p:boldItalic r:id="rId49"/>
    </p:embeddedFont>
    <p:embeddedFont>
      <p:font typeface="MetricHPE Black" panose="020B0604020202020204" charset="0"/>
      <p:bold r:id="rId50"/>
      <p:boldItalic r:id="rId51"/>
    </p:embeddedFont>
    <p:embeddedFont>
      <p:font typeface="Roboto" panose="02000000000000000000" pitchFamily="2" charset="0"/>
      <p:regular r:id="rId52"/>
      <p:bold r:id="rId53"/>
      <p:italic r:id="rId54"/>
      <p:boldItalic r:id="rId55"/>
    </p:embeddedFont>
  </p:embeddedFontLst>
  <p:custDataLst>
    <p:tags r:id="rId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4" orient="horz" pos="3840">
          <p15:clr>
            <a:srgbClr val="A4A3A4"/>
          </p15:clr>
        </p15:guide>
        <p15:guide id="5" pos="3840">
          <p15:clr>
            <a:srgbClr val="A4A3A4"/>
          </p15:clr>
        </p15:guide>
        <p15:guide id="6" pos="240" userDrawn="1">
          <p15:clr>
            <a:srgbClr val="A4A3A4"/>
          </p15:clr>
        </p15:guide>
        <p15:guide id="7" pos="7440" userDrawn="1">
          <p15:clr>
            <a:srgbClr val="A4A3A4"/>
          </p15:clr>
        </p15:guide>
        <p15:guide id="8" orient="horz" pos="864" userDrawn="1">
          <p15:clr>
            <a:srgbClr val="A4A3A4"/>
          </p15:clr>
        </p15:guide>
        <p15:guide id="9" orient="horz" pos="4104" userDrawn="1">
          <p15:clr>
            <a:srgbClr val="A4A3A4"/>
          </p15:clr>
        </p15:guide>
        <p15:guide id="10" orient="horz" pos="4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Bloomer, Debbie" initials="BD [2]" lastIdx="221" clrIdx="6">
    <p:extLst>
      <p:ext uri="{19B8F6BF-5375-455C-9EA6-DF929625EA0E}">
        <p15:presenceInfo xmlns:p15="http://schemas.microsoft.com/office/powerpoint/2012/main" userId="S-1-5-21-839522115-1383384898-515967899-6385038" providerId="AD"/>
      </p:ext>
    </p:extLst>
  </p:cmAuthor>
  <p:cmAuthor id="1" name="Anna Seo" initials="" lastIdx="0" clrIdx="0"/>
  <p:cmAuthor id="8" name="writer@veraovanin.com" initials="w" lastIdx="12" clrIdx="7"/>
  <p:cmAuthor id="2" name="Srinivasan, Latha (Compute Cloud)" initials="SL(C" lastIdx="31" clrIdx="1">
    <p:extLst>
      <p:ext uri="{19B8F6BF-5375-455C-9EA6-DF929625EA0E}">
        <p15:presenceInfo xmlns:p15="http://schemas.microsoft.com/office/powerpoint/2012/main" userId="S::latha.srinivasan@hpe.com::6ac9c5fe-15f7-4c58-8cc4-7f25d2751acd" providerId="AD"/>
      </p:ext>
    </p:extLst>
  </p:cmAuthor>
  <p:cmAuthor id="9" name="Igors Walker" initials="IW" lastIdx="4" clrIdx="8">
    <p:extLst>
      <p:ext uri="{19B8F6BF-5375-455C-9EA6-DF929625EA0E}">
        <p15:presenceInfo xmlns:p15="http://schemas.microsoft.com/office/powerpoint/2012/main" userId="S::Igors.Walker@tbtmarketing.com::3e375862-07cb-43f4-8f07-19bf86d42603" providerId="AD"/>
      </p:ext>
    </p:extLst>
  </p:cmAuthor>
  <p:cmAuthor id="3" name="TRIPATHI, NIVEDITA" initials="TN" lastIdx="27" clrIdx="2">
    <p:extLst>
      <p:ext uri="{19B8F6BF-5375-455C-9EA6-DF929625EA0E}">
        <p15:presenceInfo xmlns:p15="http://schemas.microsoft.com/office/powerpoint/2012/main" userId="S::nivedita.tripathi@hpe.com::1d76a7a1-ccc7-4870-89ec-219fec83560f" providerId="AD"/>
      </p:ext>
    </p:extLst>
  </p:cmAuthor>
  <p:cmAuthor id="10" name="Corcoran, Jeffrey" initials="CJ" lastIdx="3" clrIdx="9">
    <p:extLst>
      <p:ext uri="{19B8F6BF-5375-455C-9EA6-DF929625EA0E}">
        <p15:presenceInfo xmlns:p15="http://schemas.microsoft.com/office/powerpoint/2012/main" userId="S-1-5-21-839522115-1383384898-515967899-2310690" providerId="AD"/>
      </p:ext>
    </p:extLst>
  </p:cmAuthor>
  <p:cmAuthor id="4" name="Sheets, Tim" initials="ST" lastIdx="7" clrIdx="3">
    <p:extLst>
      <p:ext uri="{19B8F6BF-5375-455C-9EA6-DF929625EA0E}">
        <p15:presenceInfo xmlns:p15="http://schemas.microsoft.com/office/powerpoint/2012/main" userId="S::tim.sheets@hpe.com::51adb0bc-1133-4c57-acf6-e717c2742877" providerId="AD"/>
      </p:ext>
    </p:extLst>
  </p:cmAuthor>
  <p:cmAuthor id="11" name="Brent, Jennifer" initials="BJ" lastIdx="14" clrIdx="10">
    <p:extLst>
      <p:ext uri="{19B8F6BF-5375-455C-9EA6-DF929625EA0E}">
        <p15:presenceInfo xmlns:p15="http://schemas.microsoft.com/office/powerpoint/2012/main" userId="S-1-5-21-1957994488-842925246-40105171-1799875" providerId="AD"/>
      </p:ext>
    </p:extLst>
  </p:cmAuthor>
  <p:cmAuthor id="5" name="Davis, Kate" initials="DK" lastIdx="1" clrIdx="4">
    <p:extLst>
      <p:ext uri="{19B8F6BF-5375-455C-9EA6-DF929625EA0E}">
        <p15:presenceInfo xmlns:p15="http://schemas.microsoft.com/office/powerpoint/2012/main" userId="S::kate.davis@hpe.com::c0ce77ad-0e82-4ee0-9c09-ef51378807aa" providerId="AD"/>
      </p:ext>
    </p:extLst>
  </p:cmAuthor>
  <p:cmAuthor id="6" name="Bloomer, Debbie" initials="BD" lastIdx="14" clrIdx="5">
    <p:extLst>
      <p:ext uri="{19B8F6BF-5375-455C-9EA6-DF929625EA0E}">
        <p15:presenceInfo xmlns:p15="http://schemas.microsoft.com/office/powerpoint/2012/main" userId="S::debbie.bloomer@hpe.com::256b7bc5-acad-4881-86b6-11536afe9dc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64A"/>
    <a:srgbClr val="E6E6E6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6F113E-5E49-4585-A1F6-547F8849998D}" v="68" dt="2023-04-25T14:35:14.028"/>
  </p1510:revLst>
</p1510:revInfo>
</file>

<file path=ppt/tableStyles.xml><?xml version="1.0" encoding="utf-8"?>
<a:tblStyleLst xmlns:a="http://schemas.openxmlformats.org/drawingml/2006/main" def="{2D5ABB26-0587-4C30-8999-92F81FD0307C}">
  <a:tblStyle styleId="{2D5ABB26-0587-4C30-8999-92F81FD0307C}" styleName="No Style, No Grid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lt1"/>
            </a:lnRef>
          </a:top>
          <a:bottom>
            <a:lnRef idx="1">
              <a:schemeClr val="lt1"/>
            </a:lnRef>
          </a:bottom>
        </a:tcBdr>
      </a:tcStyle>
    </a:band1H>
    <a:band1V>
      <a:tcStyle>
        <a:tcBdr>
          <a:left>
            <a:lnRef idx="1">
              <a:schemeClr val="lt1"/>
            </a:lnRef>
          </a:left>
          <a:right>
            <a:lnRef idx="1">
              <a:schemeClr val="lt1"/>
            </a:lnRef>
          </a:right>
        </a:tcBdr>
      </a:tcStyle>
    </a:band1V>
    <a:band2V>
      <a:tcStyle>
        <a:tcBdr>
          <a:left>
            <a:lnRef idx="1">
              <a:schemeClr val="lt1"/>
            </a:lnRef>
          </a:left>
          <a:right>
            <a:lnRef idx="1">
              <a:schemeClr val="l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l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Ref idx="1">
          <a:schemeClr val="dk1">
            <a:tint val="80000"/>
          </a:schemeClr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orient="horz" pos="2160"/>
        <p:guide orient="horz" pos="3840"/>
        <p:guide pos="3840"/>
        <p:guide pos="240"/>
        <p:guide pos="7440"/>
        <p:guide orient="horz" pos="864"/>
        <p:guide orient="horz" pos="4104"/>
        <p:guide orient="horz" pos="43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font" Target="fonts/font14.fntdata"/><Relationship Id="rId63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font" Target="fonts/font12.fntdata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tableStyles" Target="tableStyles.xml"/><Relationship Id="rId19" Type="http://schemas.openxmlformats.org/officeDocument/2006/relationships/slide" Target="slides/slide3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10.fntdata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font" Target="fonts/font5.fntdata"/><Relationship Id="rId59" Type="http://schemas.openxmlformats.org/officeDocument/2006/relationships/viewProps" Target="viewProps.xml"/><Relationship Id="rId20" Type="http://schemas.openxmlformats.org/officeDocument/2006/relationships/slide" Target="slides/slide4.xml"/><Relationship Id="rId41" Type="http://schemas.openxmlformats.org/officeDocument/2006/relationships/handoutMaster" Target="handoutMasters/handoutMaster1.xml"/><Relationship Id="rId54" Type="http://schemas.openxmlformats.org/officeDocument/2006/relationships/font" Target="fonts/font13.fntdata"/><Relationship Id="rId62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font" Target="fonts/font8.fntdata"/><Relationship Id="rId57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5.xml"/><Relationship Id="rId44" Type="http://schemas.openxmlformats.org/officeDocument/2006/relationships/font" Target="fonts/font3.fntdata"/><Relationship Id="rId52" Type="http://schemas.openxmlformats.org/officeDocument/2006/relationships/font" Target="fonts/font11.fntdata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vishankar, Sriram" userId="a2a4d519-b907-4ab2-a615-20e125523613" providerId="ADAL" clId="{426F113E-5E49-4585-A1F6-547F8849998D}"/>
    <pc:docChg chg="undo custSel addSld delSld modSld sldOrd">
      <pc:chgData name="Ravishankar, Sriram" userId="a2a4d519-b907-4ab2-a615-20e125523613" providerId="ADAL" clId="{426F113E-5E49-4585-A1F6-547F8849998D}" dt="2023-04-25T14:35:14.027" v="487" actId="113"/>
      <pc:docMkLst>
        <pc:docMk/>
      </pc:docMkLst>
      <pc:sldChg chg="modSp mod">
        <pc:chgData name="Ravishankar, Sriram" userId="a2a4d519-b907-4ab2-a615-20e125523613" providerId="ADAL" clId="{426F113E-5E49-4585-A1F6-547F8849998D}" dt="2023-04-23T06:24:40.800" v="97" actId="20577"/>
        <pc:sldMkLst>
          <pc:docMk/>
          <pc:sldMk cId="2398465464" sldId="2147470339"/>
        </pc:sldMkLst>
        <pc:spChg chg="mod">
          <ac:chgData name="Ravishankar, Sriram" userId="a2a4d519-b907-4ab2-a615-20e125523613" providerId="ADAL" clId="{426F113E-5E49-4585-A1F6-547F8849998D}" dt="2023-04-23T06:24:40.800" v="97" actId="20577"/>
          <ac:spMkLst>
            <pc:docMk/>
            <pc:sldMk cId="2398465464" sldId="2147470339"/>
            <ac:spMk id="5" creationId="{038220D8-DD1E-2E75-55F3-20667E609B10}"/>
          </ac:spMkLst>
        </pc:spChg>
      </pc:sldChg>
      <pc:sldChg chg="modSp mod">
        <pc:chgData name="Ravishankar, Sriram" userId="a2a4d519-b907-4ab2-a615-20e125523613" providerId="ADAL" clId="{426F113E-5E49-4585-A1F6-547F8849998D}" dt="2023-04-23T06:33:16.256" v="294" actId="20577"/>
        <pc:sldMkLst>
          <pc:docMk/>
          <pc:sldMk cId="2574842110" sldId="2147470343"/>
        </pc:sldMkLst>
        <pc:spChg chg="mod">
          <ac:chgData name="Ravishankar, Sriram" userId="a2a4d519-b907-4ab2-a615-20e125523613" providerId="ADAL" clId="{426F113E-5E49-4585-A1F6-547F8849998D}" dt="2023-04-23T06:33:16.256" v="294" actId="20577"/>
          <ac:spMkLst>
            <pc:docMk/>
            <pc:sldMk cId="2574842110" sldId="2147470343"/>
            <ac:spMk id="4" creationId="{7586AC04-3BD9-E26C-867A-61F5058FA619}"/>
          </ac:spMkLst>
        </pc:spChg>
      </pc:sldChg>
      <pc:sldChg chg="addSp modSp mod">
        <pc:chgData name="Ravishankar, Sriram" userId="a2a4d519-b907-4ab2-a615-20e125523613" providerId="ADAL" clId="{426F113E-5E49-4585-A1F6-547F8849998D}" dt="2023-04-23T06:21:10.243" v="53" actId="20577"/>
        <pc:sldMkLst>
          <pc:docMk/>
          <pc:sldMk cId="2716270420" sldId="2147470352"/>
        </pc:sldMkLst>
        <pc:spChg chg="mod">
          <ac:chgData name="Ravishankar, Sriram" userId="a2a4d519-b907-4ab2-a615-20e125523613" providerId="ADAL" clId="{426F113E-5E49-4585-A1F6-547F8849998D}" dt="2023-04-23T06:21:10.243" v="53" actId="20577"/>
          <ac:spMkLst>
            <pc:docMk/>
            <pc:sldMk cId="2716270420" sldId="2147470352"/>
            <ac:spMk id="2" creationId="{EFB2BF4A-CAF4-7F27-6B71-633C41B7DD48}"/>
          </ac:spMkLst>
        </pc:spChg>
        <pc:spChg chg="add mod">
          <ac:chgData name="Ravishankar, Sriram" userId="a2a4d519-b907-4ab2-a615-20e125523613" providerId="ADAL" clId="{426F113E-5E49-4585-A1F6-547F8849998D}" dt="2023-04-23T06:16:31.258" v="5" actId="14100"/>
          <ac:spMkLst>
            <pc:docMk/>
            <pc:sldMk cId="2716270420" sldId="2147470352"/>
            <ac:spMk id="6" creationId="{6B21175C-6423-E1A3-D7B3-5E377F07FB76}"/>
          </ac:spMkLst>
        </pc:spChg>
        <pc:spChg chg="mod">
          <ac:chgData name="Ravishankar, Sriram" userId="a2a4d519-b907-4ab2-a615-20e125523613" providerId="ADAL" clId="{426F113E-5E49-4585-A1F6-547F8849998D}" dt="2023-04-23T06:20:49.272" v="47" actId="20577"/>
          <ac:spMkLst>
            <pc:docMk/>
            <pc:sldMk cId="2716270420" sldId="2147470352"/>
            <ac:spMk id="11" creationId="{DF167FA7-D463-3B8E-5583-565658FE7A82}"/>
          </ac:spMkLst>
        </pc:spChg>
        <pc:picChg chg="mod">
          <ac:chgData name="Ravishankar, Sriram" userId="a2a4d519-b907-4ab2-a615-20e125523613" providerId="ADAL" clId="{426F113E-5E49-4585-A1F6-547F8849998D}" dt="2023-04-23T06:20:47.202" v="45" actId="1076"/>
          <ac:picMkLst>
            <pc:docMk/>
            <pc:sldMk cId="2716270420" sldId="2147470352"/>
            <ac:picMk id="3" creationId="{F0D6947F-53A6-2227-DDE9-E8783BFB6B57}"/>
          </ac:picMkLst>
        </pc:picChg>
        <pc:picChg chg="mod">
          <ac:chgData name="Ravishankar, Sriram" userId="a2a4d519-b907-4ab2-a615-20e125523613" providerId="ADAL" clId="{426F113E-5E49-4585-A1F6-547F8849998D}" dt="2023-04-23T06:21:03.274" v="51" actId="14100"/>
          <ac:picMkLst>
            <pc:docMk/>
            <pc:sldMk cId="2716270420" sldId="2147470352"/>
            <ac:picMk id="4" creationId="{B531B277-131D-4911-ACF8-CA1523548E40}"/>
          </ac:picMkLst>
        </pc:picChg>
        <pc:picChg chg="add mod">
          <ac:chgData name="Ravishankar, Sriram" userId="a2a4d519-b907-4ab2-a615-20e125523613" providerId="ADAL" clId="{426F113E-5E49-4585-A1F6-547F8849998D}" dt="2023-04-23T06:20:11.095" v="35" actId="14100"/>
          <ac:picMkLst>
            <pc:docMk/>
            <pc:sldMk cId="2716270420" sldId="2147470352"/>
            <ac:picMk id="8" creationId="{08E8848E-BA50-D63F-1D10-E7E95414B835}"/>
          </ac:picMkLst>
        </pc:picChg>
      </pc:sldChg>
      <pc:sldChg chg="modSp mod">
        <pc:chgData name="Ravishankar, Sriram" userId="a2a4d519-b907-4ab2-a615-20e125523613" providerId="ADAL" clId="{426F113E-5E49-4585-A1F6-547F8849998D}" dt="2023-04-23T06:32:32.591" v="277" actId="1076"/>
        <pc:sldMkLst>
          <pc:docMk/>
          <pc:sldMk cId="2543164315" sldId="2147470353"/>
        </pc:sldMkLst>
        <pc:spChg chg="mod">
          <ac:chgData name="Ravishankar, Sriram" userId="a2a4d519-b907-4ab2-a615-20e125523613" providerId="ADAL" clId="{426F113E-5E49-4585-A1F6-547F8849998D}" dt="2023-04-23T06:28:19.546" v="205" actId="1076"/>
          <ac:spMkLst>
            <pc:docMk/>
            <pc:sldMk cId="2543164315" sldId="2147470353"/>
            <ac:spMk id="4" creationId="{20FC1D26-EB8E-47F1-A42E-2C308D892538}"/>
          </ac:spMkLst>
        </pc:spChg>
        <pc:spChg chg="mod">
          <ac:chgData name="Ravishankar, Sriram" userId="a2a4d519-b907-4ab2-a615-20e125523613" providerId="ADAL" clId="{426F113E-5E49-4585-A1F6-547F8849998D}" dt="2023-04-23T06:32:16.958" v="275" actId="20577"/>
          <ac:spMkLst>
            <pc:docMk/>
            <pc:sldMk cId="2543164315" sldId="2147470353"/>
            <ac:spMk id="11" creationId="{DF167FA7-D463-3B8E-5583-565658FE7A82}"/>
          </ac:spMkLst>
        </pc:spChg>
        <pc:picChg chg="mod">
          <ac:chgData name="Ravishankar, Sriram" userId="a2a4d519-b907-4ab2-a615-20e125523613" providerId="ADAL" clId="{426F113E-5E49-4585-A1F6-547F8849998D}" dt="2023-04-23T06:32:32.591" v="277" actId="1076"/>
          <ac:picMkLst>
            <pc:docMk/>
            <pc:sldMk cId="2543164315" sldId="2147470353"/>
            <ac:picMk id="2" creationId="{36C0C007-FD8F-4BBD-E51C-A834032A34AC}"/>
          </ac:picMkLst>
        </pc:picChg>
      </pc:sldChg>
      <pc:sldChg chg="modSp mod">
        <pc:chgData name="Ravishankar, Sriram" userId="a2a4d519-b907-4ab2-a615-20e125523613" providerId="ADAL" clId="{426F113E-5E49-4585-A1F6-547F8849998D}" dt="2023-04-23T04:09:38.068" v="1" actId="1076"/>
        <pc:sldMkLst>
          <pc:docMk/>
          <pc:sldMk cId="1023971464" sldId="2147470372"/>
        </pc:sldMkLst>
        <pc:spChg chg="mod">
          <ac:chgData name="Ravishankar, Sriram" userId="a2a4d519-b907-4ab2-a615-20e125523613" providerId="ADAL" clId="{426F113E-5E49-4585-A1F6-547F8849998D}" dt="2023-04-23T04:09:38.068" v="1" actId="1076"/>
          <ac:spMkLst>
            <pc:docMk/>
            <pc:sldMk cId="1023971464" sldId="2147470372"/>
            <ac:spMk id="8" creationId="{154EDC1A-ACFF-2F81-BCAC-69A18597B22F}"/>
          </ac:spMkLst>
        </pc:spChg>
      </pc:sldChg>
      <pc:sldChg chg="new del">
        <pc:chgData name="Ravishankar, Sriram" userId="a2a4d519-b907-4ab2-a615-20e125523613" providerId="ADAL" clId="{426F113E-5E49-4585-A1F6-547F8849998D}" dt="2023-04-25T14:23:59.029" v="298" actId="47"/>
        <pc:sldMkLst>
          <pc:docMk/>
          <pc:sldMk cId="1208222610" sldId="2147470374"/>
        </pc:sldMkLst>
      </pc:sldChg>
      <pc:sldChg chg="addSp delSp modSp add mod ord modClrScheme chgLayout">
        <pc:chgData name="Ravishankar, Sriram" userId="a2a4d519-b907-4ab2-a615-20e125523613" providerId="ADAL" clId="{426F113E-5E49-4585-A1F6-547F8849998D}" dt="2023-04-25T14:35:14.027" v="487" actId="113"/>
        <pc:sldMkLst>
          <pc:docMk/>
          <pc:sldMk cId="1380288150" sldId="2147470374"/>
        </pc:sldMkLst>
        <pc:spChg chg="add del mod">
          <ac:chgData name="Ravishankar, Sriram" userId="a2a4d519-b907-4ab2-a615-20e125523613" providerId="ADAL" clId="{426F113E-5E49-4585-A1F6-547F8849998D}" dt="2023-04-25T14:24:19.129" v="324" actId="478"/>
          <ac:spMkLst>
            <pc:docMk/>
            <pc:sldMk cId="1380288150" sldId="2147470374"/>
            <ac:spMk id="3" creationId="{5D170003-5E62-29BB-D03B-5D36349006FA}"/>
          </ac:spMkLst>
        </pc:spChg>
        <pc:spChg chg="add del mod">
          <ac:chgData name="Ravishankar, Sriram" userId="a2a4d519-b907-4ab2-a615-20e125523613" providerId="ADAL" clId="{426F113E-5E49-4585-A1F6-547F8849998D}" dt="2023-04-25T14:34:37.067" v="479" actId="478"/>
          <ac:spMkLst>
            <pc:docMk/>
            <pc:sldMk cId="1380288150" sldId="2147470374"/>
            <ac:spMk id="4" creationId="{7A59B8D7-ED32-F3E8-BC9D-BF9C403EA4C4}"/>
          </ac:spMkLst>
        </pc:spChg>
        <pc:spChg chg="mod">
          <ac:chgData name="Ravishankar, Sriram" userId="a2a4d519-b907-4ab2-a615-20e125523613" providerId="ADAL" clId="{426F113E-5E49-4585-A1F6-547F8849998D}" dt="2023-04-25T14:34:32.833" v="477" actId="26606"/>
          <ac:spMkLst>
            <pc:docMk/>
            <pc:sldMk cId="1380288150" sldId="2147470374"/>
            <ac:spMk id="5" creationId="{34F6EE7B-15D2-B167-BCC8-5EAA148A3C2A}"/>
          </ac:spMkLst>
        </pc:spChg>
        <pc:spChg chg="mod">
          <ac:chgData name="Ravishankar, Sriram" userId="a2a4d519-b907-4ab2-a615-20e125523613" providerId="ADAL" clId="{426F113E-5E49-4585-A1F6-547F8849998D}" dt="2023-04-25T14:34:32.833" v="477" actId="26606"/>
          <ac:spMkLst>
            <pc:docMk/>
            <pc:sldMk cId="1380288150" sldId="2147470374"/>
            <ac:spMk id="6" creationId="{7611E67C-4760-403F-1AF3-8037C465A3AD}"/>
          </ac:spMkLst>
        </pc:spChg>
        <pc:spChg chg="mod">
          <ac:chgData name="Ravishankar, Sriram" userId="a2a4d519-b907-4ab2-a615-20e125523613" providerId="ADAL" clId="{426F113E-5E49-4585-A1F6-547F8849998D}" dt="2023-04-25T14:34:32.833" v="477" actId="26606"/>
          <ac:spMkLst>
            <pc:docMk/>
            <pc:sldMk cId="1380288150" sldId="2147470374"/>
            <ac:spMk id="7" creationId="{6194F36D-2DD4-24AA-4261-9BCC5A50A666}"/>
          </ac:spMkLst>
        </pc:spChg>
        <pc:spChg chg="add del mod">
          <ac:chgData name="Ravishankar, Sriram" userId="a2a4d519-b907-4ab2-a615-20e125523613" providerId="ADAL" clId="{426F113E-5E49-4585-A1F6-547F8849998D}" dt="2023-04-25T14:32:19.067" v="428" actId="478"/>
          <ac:spMkLst>
            <pc:docMk/>
            <pc:sldMk cId="1380288150" sldId="2147470374"/>
            <ac:spMk id="8" creationId="{FCBB9FD1-2724-DFBB-0234-BCF64D3EC7B3}"/>
          </ac:spMkLst>
        </pc:spChg>
        <pc:spChg chg="add del mod">
          <ac:chgData name="Ravishankar, Sriram" userId="a2a4d519-b907-4ab2-a615-20e125523613" providerId="ADAL" clId="{426F113E-5E49-4585-A1F6-547F8849998D}" dt="2023-04-25T14:27:22.297" v="412" actId="478"/>
          <ac:spMkLst>
            <pc:docMk/>
            <pc:sldMk cId="1380288150" sldId="2147470374"/>
            <ac:spMk id="11" creationId="{A696ED57-6920-D45A-0337-85C0380EA6DB}"/>
          </ac:spMkLst>
        </pc:spChg>
        <pc:spChg chg="add del mod">
          <ac:chgData name="Ravishankar, Sriram" userId="a2a4d519-b907-4ab2-a615-20e125523613" providerId="ADAL" clId="{426F113E-5E49-4585-A1F6-547F8849998D}" dt="2023-04-25T14:27:23.946" v="413" actId="478"/>
          <ac:spMkLst>
            <pc:docMk/>
            <pc:sldMk cId="1380288150" sldId="2147470374"/>
            <ac:spMk id="12" creationId="{EA5EA487-5581-9976-82F7-8D672ACFA848}"/>
          </ac:spMkLst>
        </pc:spChg>
        <pc:spChg chg="add del mod">
          <ac:chgData name="Ravishankar, Sriram" userId="a2a4d519-b907-4ab2-a615-20e125523613" providerId="ADAL" clId="{426F113E-5E49-4585-A1F6-547F8849998D}" dt="2023-04-25T14:32:32.217" v="432" actId="478"/>
          <ac:spMkLst>
            <pc:docMk/>
            <pc:sldMk cId="1380288150" sldId="2147470374"/>
            <ac:spMk id="14" creationId="{4080B566-DDDB-264D-A9A3-5E8463FBD515}"/>
          </ac:spMkLst>
        </pc:spChg>
        <pc:spChg chg="add del mod">
          <ac:chgData name="Ravishankar, Sriram" userId="a2a4d519-b907-4ab2-a615-20e125523613" providerId="ADAL" clId="{426F113E-5E49-4585-A1F6-547F8849998D}" dt="2023-04-25T14:32:17.689" v="427" actId="478"/>
          <ac:spMkLst>
            <pc:docMk/>
            <pc:sldMk cId="1380288150" sldId="2147470374"/>
            <ac:spMk id="15" creationId="{25821D03-21D8-CE50-B107-871C22826CF4}"/>
          </ac:spMkLst>
        </pc:spChg>
        <pc:spChg chg="add del mod">
          <ac:chgData name="Ravishankar, Sriram" userId="a2a4d519-b907-4ab2-a615-20e125523613" providerId="ADAL" clId="{426F113E-5E49-4585-A1F6-547F8849998D}" dt="2023-04-25T14:32:33.337" v="433" actId="478"/>
          <ac:spMkLst>
            <pc:docMk/>
            <pc:sldMk cId="1380288150" sldId="2147470374"/>
            <ac:spMk id="17" creationId="{95B426A6-A724-5EBE-EA2F-A3E315EA7908}"/>
          </ac:spMkLst>
        </pc:spChg>
        <pc:spChg chg="add del mod">
          <ac:chgData name="Ravishankar, Sriram" userId="a2a4d519-b907-4ab2-a615-20e125523613" providerId="ADAL" clId="{426F113E-5E49-4585-A1F6-547F8849998D}" dt="2023-04-25T14:32:20.426" v="429" actId="478"/>
          <ac:spMkLst>
            <pc:docMk/>
            <pc:sldMk cId="1380288150" sldId="2147470374"/>
            <ac:spMk id="18" creationId="{6DEFEB85-FB27-65BA-6588-CD0ADC7F0150}"/>
          </ac:spMkLst>
        </pc:spChg>
        <pc:spChg chg="add del mod">
          <ac:chgData name="Ravishankar, Sriram" userId="a2a4d519-b907-4ab2-a615-20e125523613" providerId="ADAL" clId="{426F113E-5E49-4585-A1F6-547F8849998D}" dt="2023-04-25T14:33:56.035" v="469" actId="26606"/>
          <ac:spMkLst>
            <pc:docMk/>
            <pc:sldMk cId="1380288150" sldId="2147470374"/>
            <ac:spMk id="21" creationId="{4C64DBE0-4DBE-95F0-568A-C7D2AD833F84}"/>
          </ac:spMkLst>
        </pc:spChg>
        <pc:spChg chg="add del mod">
          <ac:chgData name="Ravishankar, Sriram" userId="a2a4d519-b907-4ab2-a615-20e125523613" providerId="ADAL" clId="{426F113E-5E49-4585-A1F6-547F8849998D}" dt="2023-04-25T14:33:56.035" v="469" actId="26606"/>
          <ac:spMkLst>
            <pc:docMk/>
            <pc:sldMk cId="1380288150" sldId="2147470374"/>
            <ac:spMk id="22" creationId="{0AE1320B-E3A3-4DB8-2E3E-F58DE538FA78}"/>
          </ac:spMkLst>
        </pc:spChg>
        <pc:graphicFrameChg chg="add del">
          <ac:chgData name="Ravishankar, Sriram" userId="a2a4d519-b907-4ab2-a615-20e125523613" providerId="ADAL" clId="{426F113E-5E49-4585-A1F6-547F8849998D}" dt="2023-04-25T14:33:49.915" v="467" actId="26606"/>
          <ac:graphicFrameMkLst>
            <pc:docMk/>
            <pc:sldMk cId="1380288150" sldId="2147470374"/>
            <ac:graphicFrameMk id="19" creationId="{A03D60C7-980D-DCD4-9A32-2ECCDE6B974E}"/>
          </ac:graphicFrameMkLst>
        </pc:graphicFrameChg>
        <pc:graphicFrameChg chg="add mod">
          <ac:chgData name="Ravishankar, Sriram" userId="a2a4d519-b907-4ab2-a615-20e125523613" providerId="ADAL" clId="{426F113E-5E49-4585-A1F6-547F8849998D}" dt="2023-04-25T14:35:14.027" v="487" actId="113"/>
          <ac:graphicFrameMkLst>
            <pc:docMk/>
            <pc:sldMk cId="1380288150" sldId="2147470374"/>
            <ac:graphicFrameMk id="20" creationId="{647987BD-1595-E09B-C9AE-5B088EB08EE7}"/>
          </ac:graphicFrameMkLst>
        </pc:graphicFrameChg>
        <pc:graphicFrameChg chg="add del">
          <ac:chgData name="Ravishankar, Sriram" userId="a2a4d519-b907-4ab2-a615-20e125523613" providerId="ADAL" clId="{426F113E-5E49-4585-A1F6-547F8849998D}" dt="2023-04-25T14:33:56.035" v="469" actId="26606"/>
          <ac:graphicFrameMkLst>
            <pc:docMk/>
            <pc:sldMk cId="1380288150" sldId="2147470374"/>
            <ac:graphicFrameMk id="23" creationId="{C7E4E4B0-806D-384D-53BE-CA5072D0EB28}"/>
          </ac:graphicFrameMkLst>
        </pc:graphicFrameChg>
        <pc:graphicFrameChg chg="add del mod">
          <ac:chgData name="Ravishankar, Sriram" userId="a2a4d519-b907-4ab2-a615-20e125523613" providerId="ADAL" clId="{426F113E-5E49-4585-A1F6-547F8849998D}" dt="2023-04-25T14:34:32.833" v="477" actId="26606"/>
          <ac:graphicFrameMkLst>
            <pc:docMk/>
            <pc:sldMk cId="1380288150" sldId="2147470374"/>
            <ac:graphicFrameMk id="25" creationId="{A03D60C7-980D-DCD4-9A32-2ECCDE6B974E}"/>
          </ac:graphicFrameMkLst>
        </pc:graphicFrameChg>
        <pc:picChg chg="del">
          <ac:chgData name="Ravishankar, Sriram" userId="a2a4d519-b907-4ab2-a615-20e125523613" providerId="ADAL" clId="{426F113E-5E49-4585-A1F6-547F8849998D}" dt="2023-04-25T14:24:13.931" v="323" actId="478"/>
          <ac:picMkLst>
            <pc:docMk/>
            <pc:sldMk cId="1380288150" sldId="2147470374"/>
            <ac:picMk id="9" creationId="{7E03D523-7AFD-61EB-336C-6FB174839492}"/>
          </ac:picMkLst>
        </pc:picChg>
        <pc:picChg chg="add del mod">
          <ac:chgData name="Ravishankar, Sriram" userId="a2a4d519-b907-4ab2-a615-20e125523613" providerId="ADAL" clId="{426F113E-5E49-4585-A1F6-547F8849998D}" dt="2023-04-25T14:27:20.456" v="410" actId="478"/>
          <ac:picMkLst>
            <pc:docMk/>
            <pc:sldMk cId="1380288150" sldId="2147470374"/>
            <ac:picMk id="10" creationId="{B9BDEF22-BC54-E56F-5C90-F84E1B82ED13}"/>
          </ac:picMkLst>
        </pc:picChg>
        <pc:picChg chg="add del mod">
          <ac:chgData name="Ravishankar, Sriram" userId="a2a4d519-b907-4ab2-a615-20e125523613" providerId="ADAL" clId="{426F113E-5E49-4585-A1F6-547F8849998D}" dt="2023-04-25T14:32:16.538" v="426" actId="478"/>
          <ac:picMkLst>
            <pc:docMk/>
            <pc:sldMk cId="1380288150" sldId="2147470374"/>
            <ac:picMk id="13" creationId="{60014E6D-8410-0565-01EB-5855B5C35216}"/>
          </ac:picMkLst>
        </pc:picChg>
        <pc:picChg chg="add del mod">
          <ac:chgData name="Ravishankar, Sriram" userId="a2a4d519-b907-4ab2-a615-20e125523613" providerId="ADAL" clId="{426F113E-5E49-4585-A1F6-547F8849998D}" dt="2023-04-25T14:32:20.872" v="430" actId="478"/>
          <ac:picMkLst>
            <pc:docMk/>
            <pc:sldMk cId="1380288150" sldId="2147470374"/>
            <ac:picMk id="16" creationId="{4D28672B-6026-8F2F-4E42-966048BB91F4}"/>
          </ac:picMkLst>
        </pc:picChg>
        <pc:picChg chg="add del mod">
          <ac:chgData name="Ravishankar, Sriram" userId="a2a4d519-b907-4ab2-a615-20e125523613" providerId="ADAL" clId="{426F113E-5E49-4585-A1F6-547F8849998D}" dt="2023-04-25T14:32:02.586" v="425" actId="478"/>
          <ac:picMkLst>
            <pc:docMk/>
            <pc:sldMk cId="1380288150" sldId="2147470374"/>
            <ac:picMk id="1026" creationId="{EF75C029-F456-DCA0-3DCA-5F7C32F75556}"/>
          </ac:picMkLst>
        </pc:picChg>
      </pc:sldChg>
      <pc:sldChg chg="add del setBg">
        <pc:chgData name="Ravishankar, Sriram" userId="a2a4d519-b907-4ab2-a615-20e125523613" providerId="ADAL" clId="{426F113E-5E49-4585-A1F6-547F8849998D}" dt="2023-04-25T14:23:57.834" v="297" actId="47"/>
        <pc:sldMkLst>
          <pc:docMk/>
          <pc:sldMk cId="1940099626" sldId="2147470375"/>
        </pc:sldMkLst>
      </pc:sldChg>
    </pc:docChg>
  </pc:docChgLst>
  <pc:docChgLst>
    <pc:chgData name="Sriram Ravishankar" userId="a2a4d519-b907-4ab2-a615-20e125523613" providerId="ADAL" clId="{426F113E-5E49-4585-A1F6-547F8849998D}"/>
    <pc:docChg chg="undo custSel addSld delSld modSld sldOrd">
      <pc:chgData name="Sriram Ravishankar" userId="a2a4d519-b907-4ab2-a615-20e125523613" providerId="ADAL" clId="{426F113E-5E49-4585-A1F6-547F8849998D}" dt="2023-04-21T18:11:34.840" v="422" actId="122"/>
      <pc:docMkLst>
        <pc:docMk/>
      </pc:docMkLst>
      <pc:sldChg chg="del">
        <pc:chgData name="Sriram Ravishankar" userId="a2a4d519-b907-4ab2-a615-20e125523613" providerId="ADAL" clId="{426F113E-5E49-4585-A1F6-547F8849998D}" dt="2023-04-21T10:47:18.354" v="3" actId="47"/>
        <pc:sldMkLst>
          <pc:docMk/>
          <pc:sldMk cId="1357055220" sldId="2147384448"/>
        </pc:sldMkLst>
      </pc:sldChg>
      <pc:sldChg chg="modSp mod">
        <pc:chgData name="Sriram Ravishankar" userId="a2a4d519-b907-4ab2-a615-20e125523613" providerId="ADAL" clId="{426F113E-5E49-4585-A1F6-547F8849998D}" dt="2023-04-21T17:53:10.107" v="321" actId="20577"/>
        <pc:sldMkLst>
          <pc:docMk/>
          <pc:sldMk cId="85097722" sldId="2147470269"/>
        </pc:sldMkLst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7" creationId="{7FE182EC-1E72-26EF-8C86-8C5C4AAAAA4C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8" creationId="{7A123AEF-FA4B-B974-0C93-9E0C8EC7407F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15" creationId="{C2D407AD-107A-B2FF-B0B9-4A74A259B6FF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16" creationId="{64736528-B95D-D378-E3CD-817D8E298A6C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17" creationId="{151D1734-3566-71D8-EDAC-0810E55577E8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18" creationId="{2D6F97D9-0BFD-84BA-3659-DE5D6D3D9C9F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19" creationId="{A4C13151-04A3-E910-ACA0-8AD9E5B92FA5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23" creationId="{5E6CA2B4-8E56-4422-B3EF-F4915C97289C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33" creationId="{758CD9F7-24C5-493B-A3BD-39EF27E7C582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35" creationId="{9302896D-5A49-46FC-A3E7-E7BB788BB25D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36" creationId="{80F22D23-07FD-4902-A85C-4CDFF0077B46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41" creationId="{87EB73A8-A0C4-48E1-96BF-AAD7FAFB3961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58" creationId="{AF180898-B44E-45BF-989B-D928CEFC471A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69" creationId="{A540BA9F-ECA3-4DA6-8B00-692118B4750F}"/>
          </ac:spMkLst>
        </pc:spChg>
        <pc:spChg chg="mod">
          <ac:chgData name="Sriram Ravishankar" userId="a2a4d519-b907-4ab2-a615-20e125523613" providerId="ADAL" clId="{426F113E-5E49-4585-A1F6-547F8849998D}" dt="2023-04-21T17:53:10.107" v="321" actId="20577"/>
          <ac:spMkLst>
            <pc:docMk/>
            <pc:sldMk cId="85097722" sldId="2147470269"/>
            <ac:spMk id="74" creationId="{07FE9444-EB1B-44C2-93FC-E4EDE172E93A}"/>
          </ac:spMkLst>
        </pc:spChg>
        <pc:spChg chg="mod">
          <ac:chgData name="Sriram Ravishankar" userId="a2a4d519-b907-4ab2-a615-20e125523613" providerId="ADAL" clId="{426F113E-5E49-4585-A1F6-547F8849998D}" dt="2023-04-21T17:53:05.733" v="317" actId="20577"/>
          <ac:spMkLst>
            <pc:docMk/>
            <pc:sldMk cId="85097722" sldId="2147470269"/>
            <ac:spMk id="78" creationId="{07FE9444-EB1B-44C2-93FC-E4EDE172E93A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79" creationId="{758CD9F7-24C5-493B-A3BD-39EF27E7C582}"/>
          </ac:spMkLst>
        </pc:spChg>
        <pc:spChg chg="mod">
          <ac:chgData name="Sriram Ravishankar" userId="a2a4d519-b907-4ab2-a615-20e125523613" providerId="ADAL" clId="{426F113E-5E49-4585-A1F6-547F8849998D}" dt="2023-04-21T17:52:52.987" v="316" actId="1076"/>
          <ac:spMkLst>
            <pc:docMk/>
            <pc:sldMk cId="85097722" sldId="2147470269"/>
            <ac:spMk id="80" creationId="{87EB73A8-A0C4-48E1-96BF-AAD7FAFB3961}"/>
          </ac:spMkLst>
        </pc:spChg>
        <pc:picChg chg="mod">
          <ac:chgData name="Sriram Ravishankar" userId="a2a4d519-b907-4ab2-a615-20e125523613" providerId="ADAL" clId="{426F113E-5E49-4585-A1F6-547F8849998D}" dt="2023-04-21T17:52:52.987" v="316" actId="1076"/>
          <ac:picMkLst>
            <pc:docMk/>
            <pc:sldMk cId="85097722" sldId="2147470269"/>
            <ac:picMk id="4" creationId="{9654573E-CEBB-FCAC-359E-E6DF590DFC28}"/>
          </ac:picMkLst>
        </pc:picChg>
        <pc:picChg chg="mod">
          <ac:chgData name="Sriram Ravishankar" userId="a2a4d519-b907-4ab2-a615-20e125523613" providerId="ADAL" clId="{426F113E-5E49-4585-A1F6-547F8849998D}" dt="2023-04-21T17:52:52.987" v="316" actId="1076"/>
          <ac:picMkLst>
            <pc:docMk/>
            <pc:sldMk cId="85097722" sldId="2147470269"/>
            <ac:picMk id="25" creationId="{7ABA8ED0-314A-4042-9D7A-6353D2C27E99}"/>
          </ac:picMkLst>
        </pc:picChg>
        <pc:picChg chg="mod">
          <ac:chgData name="Sriram Ravishankar" userId="a2a4d519-b907-4ab2-a615-20e125523613" providerId="ADAL" clId="{426F113E-5E49-4585-A1F6-547F8849998D}" dt="2023-04-21T17:52:52.987" v="316" actId="1076"/>
          <ac:picMkLst>
            <pc:docMk/>
            <pc:sldMk cId="85097722" sldId="2147470269"/>
            <ac:picMk id="26" creationId="{BD45B0D8-9416-48F0-A217-E76A677F60BF}"/>
          </ac:picMkLst>
        </pc:picChg>
        <pc:picChg chg="mod">
          <ac:chgData name="Sriram Ravishankar" userId="a2a4d519-b907-4ab2-a615-20e125523613" providerId="ADAL" clId="{426F113E-5E49-4585-A1F6-547F8849998D}" dt="2023-04-21T17:52:52.987" v="316" actId="1076"/>
          <ac:picMkLst>
            <pc:docMk/>
            <pc:sldMk cId="85097722" sldId="2147470269"/>
            <ac:picMk id="3074" creationId="{FE800406-9F39-135A-8C1F-16B500717227}"/>
          </ac:picMkLst>
        </pc:picChg>
      </pc:sldChg>
      <pc:sldChg chg="del">
        <pc:chgData name="Sriram Ravishankar" userId="a2a4d519-b907-4ab2-a615-20e125523613" providerId="ADAL" clId="{426F113E-5E49-4585-A1F6-547F8849998D}" dt="2023-04-21T10:47:19.713" v="5" actId="47"/>
        <pc:sldMkLst>
          <pc:docMk/>
          <pc:sldMk cId="142318395" sldId="2147470333"/>
        </pc:sldMkLst>
      </pc:sldChg>
      <pc:sldChg chg="del">
        <pc:chgData name="Sriram Ravishankar" userId="a2a4d519-b907-4ab2-a615-20e125523613" providerId="ADAL" clId="{426F113E-5E49-4585-A1F6-547F8849998D}" dt="2023-04-21T10:47:38.811" v="12" actId="47"/>
        <pc:sldMkLst>
          <pc:docMk/>
          <pc:sldMk cId="2594708964" sldId="2147470334"/>
        </pc:sldMkLst>
      </pc:sldChg>
      <pc:sldChg chg="del">
        <pc:chgData name="Sriram Ravishankar" userId="a2a4d519-b907-4ab2-a615-20e125523613" providerId="ADAL" clId="{426F113E-5E49-4585-A1F6-547F8849998D}" dt="2023-04-21T10:47:40.883" v="15" actId="47"/>
        <pc:sldMkLst>
          <pc:docMk/>
          <pc:sldMk cId="1980327563" sldId="2147470336"/>
        </pc:sldMkLst>
      </pc:sldChg>
      <pc:sldChg chg="modSp mod">
        <pc:chgData name="Sriram Ravishankar" userId="a2a4d519-b907-4ab2-a615-20e125523613" providerId="ADAL" clId="{426F113E-5E49-4585-A1F6-547F8849998D}" dt="2023-04-21T18:09:51.802" v="393" actId="403"/>
        <pc:sldMkLst>
          <pc:docMk/>
          <pc:sldMk cId="2592180580" sldId="2147470337"/>
        </pc:sldMkLst>
        <pc:spChg chg="mod">
          <ac:chgData name="Sriram Ravishankar" userId="a2a4d519-b907-4ab2-a615-20e125523613" providerId="ADAL" clId="{426F113E-5E49-4585-A1F6-547F8849998D}" dt="2023-04-21T18:09:51.802" v="393" actId="403"/>
          <ac:spMkLst>
            <pc:docMk/>
            <pc:sldMk cId="2592180580" sldId="2147470337"/>
            <ac:spMk id="5" creationId="{34F6EE7B-15D2-B167-BCC8-5EAA148A3C2A}"/>
          </ac:spMkLst>
        </pc:spChg>
      </pc:sldChg>
      <pc:sldChg chg="del">
        <pc:chgData name="Sriram Ravishankar" userId="a2a4d519-b907-4ab2-a615-20e125523613" providerId="ADAL" clId="{426F113E-5E49-4585-A1F6-547F8849998D}" dt="2023-04-21T10:47:37.217" v="10" actId="47"/>
        <pc:sldMkLst>
          <pc:docMk/>
          <pc:sldMk cId="3057971548" sldId="2147470338"/>
        </pc:sldMkLst>
      </pc:sldChg>
      <pc:sldChg chg="modSp mod">
        <pc:chgData name="Sriram Ravishankar" userId="a2a4d519-b907-4ab2-a615-20e125523613" providerId="ADAL" clId="{426F113E-5E49-4585-A1F6-547F8849998D}" dt="2023-04-21T18:09:20.950" v="388" actId="403"/>
        <pc:sldMkLst>
          <pc:docMk/>
          <pc:sldMk cId="2398465464" sldId="2147470339"/>
        </pc:sldMkLst>
        <pc:spChg chg="mod">
          <ac:chgData name="Sriram Ravishankar" userId="a2a4d519-b907-4ab2-a615-20e125523613" providerId="ADAL" clId="{426F113E-5E49-4585-A1F6-547F8849998D}" dt="2023-04-21T18:09:20.950" v="388" actId="403"/>
          <ac:spMkLst>
            <pc:docMk/>
            <pc:sldMk cId="2398465464" sldId="2147470339"/>
            <ac:spMk id="2" creationId="{35DA5EE6-042E-61F7-31BE-01FC691F8245}"/>
          </ac:spMkLst>
        </pc:spChg>
        <pc:spChg chg="mod">
          <ac:chgData name="Sriram Ravishankar" userId="a2a4d519-b907-4ab2-a615-20e125523613" providerId="ADAL" clId="{426F113E-5E49-4585-A1F6-547F8849998D}" dt="2023-04-21T17:14:04.545" v="22" actId="20577"/>
          <ac:spMkLst>
            <pc:docMk/>
            <pc:sldMk cId="2398465464" sldId="2147470339"/>
            <ac:spMk id="5" creationId="{038220D8-DD1E-2E75-55F3-20667E609B10}"/>
          </ac:spMkLst>
        </pc:spChg>
      </pc:sldChg>
      <pc:sldChg chg="del">
        <pc:chgData name="Sriram Ravishankar" userId="a2a4d519-b907-4ab2-a615-20e125523613" providerId="ADAL" clId="{426F113E-5E49-4585-A1F6-547F8849998D}" dt="2023-04-21T10:47:39.472" v="13" actId="47"/>
        <pc:sldMkLst>
          <pc:docMk/>
          <pc:sldMk cId="106327952" sldId="2147470340"/>
        </pc:sldMkLst>
      </pc:sldChg>
      <pc:sldChg chg="del">
        <pc:chgData name="Sriram Ravishankar" userId="a2a4d519-b907-4ab2-a615-20e125523613" providerId="ADAL" clId="{426F113E-5E49-4585-A1F6-547F8849998D}" dt="2023-04-21T10:47:24.357" v="9" actId="47"/>
        <pc:sldMkLst>
          <pc:docMk/>
          <pc:sldMk cId="3310476139" sldId="2147470341"/>
        </pc:sldMkLst>
      </pc:sldChg>
      <pc:sldChg chg="del">
        <pc:chgData name="Sriram Ravishankar" userId="a2a4d519-b907-4ab2-a615-20e125523613" providerId="ADAL" clId="{426F113E-5E49-4585-A1F6-547F8849998D}" dt="2023-04-21T10:47:17.916" v="2" actId="47"/>
        <pc:sldMkLst>
          <pc:docMk/>
          <pc:sldMk cId="1874022082" sldId="2147470342"/>
        </pc:sldMkLst>
      </pc:sldChg>
      <pc:sldChg chg="modSp mod">
        <pc:chgData name="Sriram Ravishankar" userId="a2a4d519-b907-4ab2-a615-20e125523613" providerId="ADAL" clId="{426F113E-5E49-4585-A1F6-547F8849998D}" dt="2023-04-21T17:44:00.562" v="303" actId="1076"/>
        <pc:sldMkLst>
          <pc:docMk/>
          <pc:sldMk cId="2574842110" sldId="2147470343"/>
        </pc:sldMkLst>
        <pc:picChg chg="mod">
          <ac:chgData name="Sriram Ravishankar" userId="a2a4d519-b907-4ab2-a615-20e125523613" providerId="ADAL" clId="{426F113E-5E49-4585-A1F6-547F8849998D}" dt="2023-04-21T17:44:00.562" v="303" actId="1076"/>
          <ac:picMkLst>
            <pc:docMk/>
            <pc:sldMk cId="2574842110" sldId="2147470343"/>
            <ac:picMk id="8" creationId="{6D8FC74B-EB78-6C43-A74C-45E9BCAD25CB}"/>
          </ac:picMkLst>
        </pc:picChg>
      </pc:sldChg>
      <pc:sldChg chg="del">
        <pc:chgData name="Sriram Ravishankar" userId="a2a4d519-b907-4ab2-a615-20e125523613" providerId="ADAL" clId="{426F113E-5E49-4585-A1F6-547F8849998D}" dt="2023-04-21T10:47:38.251" v="11" actId="47"/>
        <pc:sldMkLst>
          <pc:docMk/>
          <pc:sldMk cId="2925330363" sldId="2147470344"/>
        </pc:sldMkLst>
      </pc:sldChg>
      <pc:sldChg chg="del">
        <pc:chgData name="Sriram Ravishankar" userId="a2a4d519-b907-4ab2-a615-20e125523613" providerId="ADAL" clId="{426F113E-5E49-4585-A1F6-547F8849998D}" dt="2023-04-21T10:47:22.024" v="7" actId="47"/>
        <pc:sldMkLst>
          <pc:docMk/>
          <pc:sldMk cId="2073823788" sldId="2147470345"/>
        </pc:sldMkLst>
      </pc:sldChg>
      <pc:sldChg chg="del">
        <pc:chgData name="Sriram Ravishankar" userId="a2a4d519-b907-4ab2-a615-20e125523613" providerId="ADAL" clId="{426F113E-5E49-4585-A1F6-547F8849998D}" dt="2023-04-21T10:47:18.935" v="4" actId="47"/>
        <pc:sldMkLst>
          <pc:docMk/>
          <pc:sldMk cId="1744670412" sldId="2147470346"/>
        </pc:sldMkLst>
      </pc:sldChg>
      <pc:sldChg chg="del">
        <pc:chgData name="Sriram Ravishankar" userId="a2a4d519-b907-4ab2-a615-20e125523613" providerId="ADAL" clId="{426F113E-5E49-4585-A1F6-547F8849998D}" dt="2023-04-21T10:47:20.614" v="6" actId="47"/>
        <pc:sldMkLst>
          <pc:docMk/>
          <pc:sldMk cId="3667599888" sldId="2147470347"/>
        </pc:sldMkLst>
      </pc:sldChg>
      <pc:sldChg chg="del">
        <pc:chgData name="Sriram Ravishankar" userId="a2a4d519-b907-4ab2-a615-20e125523613" providerId="ADAL" clId="{426F113E-5E49-4585-A1F6-547F8849998D}" dt="2023-04-21T10:47:40.148" v="14" actId="47"/>
        <pc:sldMkLst>
          <pc:docMk/>
          <pc:sldMk cId="2277162485" sldId="2147470348"/>
        </pc:sldMkLst>
      </pc:sldChg>
      <pc:sldChg chg="modSp mod">
        <pc:chgData name="Sriram Ravishankar" userId="a2a4d519-b907-4ab2-a615-20e125523613" providerId="ADAL" clId="{426F113E-5E49-4585-A1F6-547F8849998D}" dt="2023-04-21T18:11:34.840" v="422" actId="122"/>
        <pc:sldMkLst>
          <pc:docMk/>
          <pc:sldMk cId="3990721990" sldId="2147470349"/>
        </pc:sldMkLst>
        <pc:spChg chg="mod">
          <ac:chgData name="Sriram Ravishankar" userId="a2a4d519-b907-4ab2-a615-20e125523613" providerId="ADAL" clId="{426F113E-5E49-4585-A1F6-547F8849998D}" dt="2023-04-21T18:11:34.840" v="422" actId="122"/>
          <ac:spMkLst>
            <pc:docMk/>
            <pc:sldMk cId="3990721990" sldId="2147470349"/>
            <ac:spMk id="2" creationId="{6D650731-F75D-4A00-8A26-A472193D371A}"/>
          </ac:spMkLst>
        </pc:spChg>
        <pc:spChg chg="mod">
          <ac:chgData name="Sriram Ravishankar" userId="a2a4d519-b907-4ab2-a615-20e125523613" providerId="ADAL" clId="{426F113E-5E49-4585-A1F6-547F8849998D}" dt="2023-04-21T17:58:42.195" v="360" actId="20577"/>
          <ac:spMkLst>
            <pc:docMk/>
            <pc:sldMk cId="3990721990" sldId="2147470349"/>
            <ac:spMk id="3" creationId="{940F81D8-5C7D-4F33-A461-CA45B169FF0D}"/>
          </ac:spMkLst>
        </pc:spChg>
      </pc:sldChg>
      <pc:sldChg chg="modSp">
        <pc:chgData name="Sriram Ravishankar" userId="a2a4d519-b907-4ab2-a615-20e125523613" providerId="ADAL" clId="{426F113E-5E49-4585-A1F6-547F8849998D}" dt="2023-04-21T18:08:52.855" v="384"/>
        <pc:sldMkLst>
          <pc:docMk/>
          <pc:sldMk cId="690474754" sldId="2147470351"/>
        </pc:sldMkLst>
        <pc:spChg chg="mod">
          <ac:chgData name="Sriram Ravishankar" userId="a2a4d519-b907-4ab2-a615-20e125523613" providerId="ADAL" clId="{426F113E-5E49-4585-A1F6-547F8849998D}" dt="2023-04-21T18:08:52.855" v="384"/>
          <ac:spMkLst>
            <pc:docMk/>
            <pc:sldMk cId="690474754" sldId="2147470351"/>
            <ac:spMk id="7" creationId="{5CFA93B1-6B6E-90CC-8F97-DBE92D8BBF25}"/>
          </ac:spMkLst>
        </pc:spChg>
      </pc:sldChg>
      <pc:sldChg chg="addSp modSp">
        <pc:chgData name="Sriram Ravishankar" userId="a2a4d519-b907-4ab2-a615-20e125523613" providerId="ADAL" clId="{426F113E-5E49-4585-A1F6-547F8849998D}" dt="2023-04-21T17:51:24.455" v="315"/>
        <pc:sldMkLst>
          <pc:docMk/>
          <pc:sldMk cId="2716270420" sldId="2147470352"/>
        </pc:sldMkLst>
        <pc:spChg chg="add mod">
          <ac:chgData name="Sriram Ravishankar" userId="a2a4d519-b907-4ab2-a615-20e125523613" providerId="ADAL" clId="{426F113E-5E49-4585-A1F6-547F8849998D}" dt="2023-04-21T17:51:24.455" v="315"/>
          <ac:spMkLst>
            <pc:docMk/>
            <pc:sldMk cId="2716270420" sldId="2147470352"/>
            <ac:spMk id="2" creationId="{EFB2BF4A-CAF4-7F27-6B71-633C41B7DD48}"/>
          </ac:spMkLst>
        </pc:spChg>
      </pc:sldChg>
      <pc:sldChg chg="addSp delSp modSp mod">
        <pc:chgData name="Sriram Ravishankar" userId="a2a4d519-b907-4ab2-a615-20e125523613" providerId="ADAL" clId="{426F113E-5E49-4585-A1F6-547F8849998D}" dt="2023-04-21T17:42:02.561" v="302" actId="1076"/>
        <pc:sldMkLst>
          <pc:docMk/>
          <pc:sldMk cId="2543164315" sldId="2147470353"/>
        </pc:sldMkLst>
        <pc:spChg chg="add del mod">
          <ac:chgData name="Sriram Ravishankar" userId="a2a4d519-b907-4ab2-a615-20e125523613" providerId="ADAL" clId="{426F113E-5E49-4585-A1F6-547F8849998D}" dt="2023-04-21T17:27:45.360" v="92" actId="767"/>
          <ac:spMkLst>
            <pc:docMk/>
            <pc:sldMk cId="2543164315" sldId="2147470353"/>
            <ac:spMk id="3" creationId="{EC5067B5-0585-82BC-71F8-6E99EAC8D2E8}"/>
          </ac:spMkLst>
        </pc:spChg>
        <pc:spChg chg="add mod">
          <ac:chgData name="Sriram Ravishankar" userId="a2a4d519-b907-4ab2-a615-20e125523613" providerId="ADAL" clId="{426F113E-5E49-4585-A1F6-547F8849998D}" dt="2023-04-21T17:42:02.561" v="302" actId="1076"/>
          <ac:spMkLst>
            <pc:docMk/>
            <pc:sldMk cId="2543164315" sldId="2147470353"/>
            <ac:spMk id="4" creationId="{20FC1D26-EB8E-47F1-A42E-2C308D892538}"/>
          </ac:spMkLst>
        </pc:spChg>
      </pc:sldChg>
      <pc:sldChg chg="modSp mod ord">
        <pc:chgData name="Sriram Ravishankar" userId="a2a4d519-b907-4ab2-a615-20e125523613" providerId="ADAL" clId="{426F113E-5E49-4585-A1F6-547F8849998D}" dt="2023-04-21T17:41:08.299" v="295" actId="20577"/>
        <pc:sldMkLst>
          <pc:docMk/>
          <pc:sldMk cId="1768858279" sldId="2147470354"/>
        </pc:sldMkLst>
        <pc:spChg chg="mod">
          <ac:chgData name="Sriram Ravishankar" userId="a2a4d519-b907-4ab2-a615-20e125523613" providerId="ADAL" clId="{426F113E-5E49-4585-A1F6-547F8849998D}" dt="2023-04-21T17:41:08.299" v="295" actId="20577"/>
          <ac:spMkLst>
            <pc:docMk/>
            <pc:sldMk cId="1768858279" sldId="2147470354"/>
            <ac:spMk id="7" creationId="{5CFA93B1-6B6E-90CC-8F97-DBE92D8BBF25}"/>
          </ac:spMkLst>
        </pc:spChg>
      </pc:sldChg>
      <pc:sldChg chg="addSp modSp add del mod">
        <pc:chgData name="Sriram Ravishankar" userId="a2a4d519-b907-4ab2-a615-20e125523613" providerId="ADAL" clId="{426F113E-5E49-4585-A1F6-547F8849998D}" dt="2023-04-21T17:40:10.998" v="287" actId="14100"/>
        <pc:sldMkLst>
          <pc:docMk/>
          <pc:sldMk cId="3191009528" sldId="2147470356"/>
        </pc:sldMkLst>
        <pc:spChg chg="add mod">
          <ac:chgData name="Sriram Ravishankar" userId="a2a4d519-b907-4ab2-a615-20e125523613" providerId="ADAL" clId="{426F113E-5E49-4585-A1F6-547F8849998D}" dt="2023-04-21T17:40:06.917" v="285" actId="1076"/>
          <ac:spMkLst>
            <pc:docMk/>
            <pc:sldMk cId="3191009528" sldId="2147470356"/>
            <ac:spMk id="2" creationId="{96B53829-971E-9529-10BF-85D5AB0EDB39}"/>
          </ac:spMkLst>
        </pc:spChg>
        <pc:picChg chg="mod">
          <ac:chgData name="Sriram Ravishankar" userId="a2a4d519-b907-4ab2-a615-20e125523613" providerId="ADAL" clId="{426F113E-5E49-4585-A1F6-547F8849998D}" dt="2023-04-21T17:40:10.998" v="287" actId="14100"/>
          <ac:picMkLst>
            <pc:docMk/>
            <pc:sldMk cId="3191009528" sldId="2147470356"/>
            <ac:picMk id="6" creationId="{1D1E8786-C6B9-B399-AE3B-902FBEB5DDB5}"/>
          </ac:picMkLst>
        </pc:picChg>
        <pc:picChg chg="mod">
          <ac:chgData name="Sriram Ravishankar" userId="a2a4d519-b907-4ab2-a615-20e125523613" providerId="ADAL" clId="{426F113E-5E49-4585-A1F6-547F8849998D}" dt="2023-04-21T17:40:08.999" v="286" actId="14100"/>
          <ac:picMkLst>
            <pc:docMk/>
            <pc:sldMk cId="3191009528" sldId="2147470356"/>
            <ac:picMk id="7" creationId="{5B3FE93F-3844-47AE-4773-80C60EEF0D3F}"/>
          </ac:picMkLst>
        </pc:picChg>
      </pc:sldChg>
      <pc:sldChg chg="addSp modSp add del mod">
        <pc:chgData name="Sriram Ravishankar" userId="a2a4d519-b907-4ab2-a615-20e125523613" providerId="ADAL" clId="{426F113E-5E49-4585-A1F6-547F8849998D}" dt="2023-04-21T17:37:43.138" v="255" actId="255"/>
        <pc:sldMkLst>
          <pc:docMk/>
          <pc:sldMk cId="3571374285" sldId="2147470360"/>
        </pc:sldMkLst>
        <pc:spChg chg="add mod">
          <ac:chgData name="Sriram Ravishankar" userId="a2a4d519-b907-4ab2-a615-20e125523613" providerId="ADAL" clId="{426F113E-5E49-4585-A1F6-547F8849998D}" dt="2023-04-21T17:37:43.138" v="255" actId="255"/>
          <ac:spMkLst>
            <pc:docMk/>
            <pc:sldMk cId="3571374285" sldId="2147470360"/>
            <ac:spMk id="6" creationId="{A153E08C-EB67-7203-FE54-339E49D80267}"/>
          </ac:spMkLst>
        </pc:spChg>
        <pc:spChg chg="mod">
          <ac:chgData name="Sriram Ravishankar" userId="a2a4d519-b907-4ab2-a615-20e125523613" providerId="ADAL" clId="{426F113E-5E49-4585-A1F6-547F8849998D}" dt="2023-04-21T17:34:16.701" v="237" actId="20577"/>
          <ac:spMkLst>
            <pc:docMk/>
            <pc:sldMk cId="3571374285" sldId="2147470360"/>
            <ac:spMk id="21" creationId="{E22BF8A7-E37A-4DA3-B869-04D647B704C3}"/>
          </ac:spMkLst>
        </pc:spChg>
      </pc:sldChg>
      <pc:sldChg chg="modSp mod">
        <pc:chgData name="Sriram Ravishankar" userId="a2a4d519-b907-4ab2-a615-20e125523613" providerId="ADAL" clId="{426F113E-5E49-4585-A1F6-547F8849998D}" dt="2023-04-21T18:09:28.891" v="392" actId="403"/>
        <pc:sldMkLst>
          <pc:docMk/>
          <pc:sldMk cId="4066733438" sldId="2147470361"/>
        </pc:sldMkLst>
        <pc:spChg chg="mod">
          <ac:chgData name="Sriram Ravishankar" userId="a2a4d519-b907-4ab2-a615-20e125523613" providerId="ADAL" clId="{426F113E-5E49-4585-A1F6-547F8849998D}" dt="2023-04-21T18:09:28.891" v="392" actId="403"/>
          <ac:spMkLst>
            <pc:docMk/>
            <pc:sldMk cId="4066733438" sldId="2147470361"/>
            <ac:spMk id="21" creationId="{E22BF8A7-E37A-4DA3-B869-04D647B704C3}"/>
          </ac:spMkLst>
        </pc:spChg>
      </pc:sldChg>
      <pc:sldChg chg="del">
        <pc:chgData name="Sriram Ravishankar" userId="a2a4d519-b907-4ab2-a615-20e125523613" providerId="ADAL" clId="{426F113E-5E49-4585-A1F6-547F8849998D}" dt="2023-04-21T17:16:26.991" v="23" actId="47"/>
        <pc:sldMkLst>
          <pc:docMk/>
          <pc:sldMk cId="639808338" sldId="2147470362"/>
        </pc:sldMkLst>
      </pc:sldChg>
      <pc:sldChg chg="del">
        <pc:chgData name="Sriram Ravishankar" userId="a2a4d519-b907-4ab2-a615-20e125523613" providerId="ADAL" clId="{426F113E-5E49-4585-A1F6-547F8849998D}" dt="2023-04-21T10:47:14.949" v="0" actId="47"/>
        <pc:sldMkLst>
          <pc:docMk/>
          <pc:sldMk cId="695468380" sldId="2147470364"/>
        </pc:sldMkLst>
      </pc:sldChg>
      <pc:sldChg chg="modSp mod">
        <pc:chgData name="Sriram Ravishankar" userId="a2a4d519-b907-4ab2-a615-20e125523613" providerId="ADAL" clId="{426F113E-5E49-4585-A1F6-547F8849998D}" dt="2023-04-21T18:09:08.805" v="387" actId="113"/>
        <pc:sldMkLst>
          <pc:docMk/>
          <pc:sldMk cId="1504617821" sldId="2147470365"/>
        </pc:sldMkLst>
        <pc:spChg chg="mod">
          <ac:chgData name="Sriram Ravishankar" userId="a2a4d519-b907-4ab2-a615-20e125523613" providerId="ADAL" clId="{426F113E-5E49-4585-A1F6-547F8849998D}" dt="2023-04-21T18:09:08.805" v="387" actId="113"/>
          <ac:spMkLst>
            <pc:docMk/>
            <pc:sldMk cId="1504617821" sldId="2147470365"/>
            <ac:spMk id="7" creationId="{5CFA93B1-6B6E-90CC-8F97-DBE92D8BBF25}"/>
          </ac:spMkLst>
        </pc:spChg>
      </pc:sldChg>
      <pc:sldChg chg="addSp delSp modSp mod modClrScheme chgLayout">
        <pc:chgData name="Sriram Ravishankar" userId="a2a4d519-b907-4ab2-a615-20e125523613" providerId="ADAL" clId="{426F113E-5E49-4585-A1F6-547F8849998D}" dt="2023-04-21T18:09:59.507" v="394" actId="403"/>
        <pc:sldMkLst>
          <pc:docMk/>
          <pc:sldMk cId="1819657226" sldId="2147470366"/>
        </pc:sldMkLst>
        <pc:spChg chg="mod">
          <ac:chgData name="Sriram Ravishankar" userId="a2a4d519-b907-4ab2-a615-20e125523613" providerId="ADAL" clId="{426F113E-5E49-4585-A1F6-547F8849998D}" dt="2023-04-21T18:09:59.507" v="394" actId="403"/>
          <ac:spMkLst>
            <pc:docMk/>
            <pc:sldMk cId="1819657226" sldId="2147470366"/>
            <ac:spMk id="5" creationId="{34F6EE7B-15D2-B167-BCC8-5EAA148A3C2A}"/>
          </ac:spMkLst>
        </pc:spChg>
        <pc:spChg chg="mod ord">
          <ac:chgData name="Sriram Ravishankar" userId="a2a4d519-b907-4ab2-a615-20e125523613" providerId="ADAL" clId="{426F113E-5E49-4585-A1F6-547F8849998D}" dt="2023-04-21T17:47:27.297" v="305" actId="26606"/>
          <ac:spMkLst>
            <pc:docMk/>
            <pc:sldMk cId="1819657226" sldId="2147470366"/>
            <ac:spMk id="6" creationId="{7611E67C-4760-403F-1AF3-8037C465A3AD}"/>
          </ac:spMkLst>
        </pc:spChg>
        <pc:spChg chg="mod ord">
          <ac:chgData name="Sriram Ravishankar" userId="a2a4d519-b907-4ab2-a615-20e125523613" providerId="ADAL" clId="{426F113E-5E49-4585-A1F6-547F8849998D}" dt="2023-04-21T17:47:27.297" v="305" actId="26606"/>
          <ac:spMkLst>
            <pc:docMk/>
            <pc:sldMk cId="1819657226" sldId="2147470366"/>
            <ac:spMk id="7" creationId="{6194F36D-2DD4-24AA-4261-9BCC5A50A666}"/>
          </ac:spMkLst>
        </pc:spChg>
        <pc:spChg chg="add del mod">
          <ac:chgData name="Sriram Ravishankar" userId="a2a4d519-b907-4ab2-a615-20e125523613" providerId="ADAL" clId="{426F113E-5E49-4585-A1F6-547F8849998D}" dt="2023-04-21T17:47:27.297" v="305" actId="26606"/>
          <ac:spMkLst>
            <pc:docMk/>
            <pc:sldMk cId="1819657226" sldId="2147470366"/>
            <ac:spMk id="20" creationId="{F31FD91C-5123-46BE-5D46-641136F82879}"/>
          </ac:spMkLst>
        </pc:spChg>
        <pc:spChg chg="add del mod">
          <ac:chgData name="Sriram Ravishankar" userId="a2a4d519-b907-4ab2-a615-20e125523613" providerId="ADAL" clId="{426F113E-5E49-4585-A1F6-547F8849998D}" dt="2023-04-21T17:47:27.297" v="305" actId="26606"/>
          <ac:spMkLst>
            <pc:docMk/>
            <pc:sldMk cId="1819657226" sldId="2147470366"/>
            <ac:spMk id="22" creationId="{3BBECB4B-2A9A-2ABD-454C-24983D2A901B}"/>
          </ac:spMkLst>
        </pc:spChg>
        <pc:graphicFrameChg chg="mod modGraphic">
          <ac:chgData name="Sriram Ravishankar" userId="a2a4d519-b907-4ab2-a615-20e125523613" providerId="ADAL" clId="{426F113E-5E49-4585-A1F6-547F8849998D}" dt="2023-04-21T17:48:02.651" v="308" actId="12100"/>
          <ac:graphicFrameMkLst>
            <pc:docMk/>
            <pc:sldMk cId="1819657226" sldId="2147470366"/>
            <ac:graphicFrameMk id="15" creationId="{146CF706-504A-340C-9434-4053DDCDBC5F}"/>
          </ac:graphicFrameMkLst>
        </pc:graphicFrameChg>
      </pc:sldChg>
      <pc:sldChg chg="modSp mod">
        <pc:chgData name="Sriram Ravishankar" userId="a2a4d519-b907-4ab2-a615-20e125523613" providerId="ADAL" clId="{426F113E-5E49-4585-A1F6-547F8849998D}" dt="2023-04-21T18:00:15.488" v="383" actId="207"/>
        <pc:sldMkLst>
          <pc:docMk/>
          <pc:sldMk cId="2488183920" sldId="2147470367"/>
        </pc:sldMkLst>
        <pc:spChg chg="mod">
          <ac:chgData name="Sriram Ravishankar" userId="a2a4d519-b907-4ab2-a615-20e125523613" providerId="ADAL" clId="{426F113E-5E49-4585-A1F6-547F8849998D}" dt="2023-04-21T18:00:15.488" v="383" actId="207"/>
          <ac:spMkLst>
            <pc:docMk/>
            <pc:sldMk cId="2488183920" sldId="2147470367"/>
            <ac:spMk id="3" creationId="{B73A7092-8B8E-A244-2DDF-EF9D1BAB683E}"/>
          </ac:spMkLst>
        </pc:spChg>
        <pc:spChg chg="mod">
          <ac:chgData name="Sriram Ravishankar" userId="a2a4d519-b907-4ab2-a615-20e125523613" providerId="ADAL" clId="{426F113E-5E49-4585-A1F6-547F8849998D}" dt="2023-04-21T17:49:33.928" v="311"/>
          <ac:spMkLst>
            <pc:docMk/>
            <pc:sldMk cId="2488183920" sldId="2147470367"/>
            <ac:spMk id="5" creationId="{34F6EE7B-15D2-B167-BCC8-5EAA148A3C2A}"/>
          </ac:spMkLst>
        </pc:spChg>
      </pc:sldChg>
      <pc:sldChg chg="del">
        <pc:chgData name="Sriram Ravishankar" userId="a2a4d519-b907-4ab2-a615-20e125523613" providerId="ADAL" clId="{426F113E-5E49-4585-A1F6-547F8849998D}" dt="2023-04-21T10:47:23.345" v="8" actId="47"/>
        <pc:sldMkLst>
          <pc:docMk/>
          <pc:sldMk cId="3171386593" sldId="2147470369"/>
        </pc:sldMkLst>
      </pc:sldChg>
      <pc:sldChg chg="modSp add mod ord">
        <pc:chgData name="Sriram Ravishankar" userId="a2a4d519-b907-4ab2-a615-20e125523613" providerId="ADAL" clId="{426F113E-5E49-4585-A1F6-547F8849998D}" dt="2023-04-21T17:54:36.378" v="341" actId="20577"/>
        <pc:sldMkLst>
          <pc:docMk/>
          <pc:sldMk cId="1732894533" sldId="2147470371"/>
        </pc:sldMkLst>
        <pc:spChg chg="mod">
          <ac:chgData name="Sriram Ravishankar" userId="a2a4d519-b907-4ab2-a615-20e125523613" providerId="ADAL" clId="{426F113E-5E49-4585-A1F6-547F8849998D}" dt="2023-04-21T17:28:25.652" v="101" actId="20577"/>
          <ac:spMkLst>
            <pc:docMk/>
            <pc:sldMk cId="1732894533" sldId="2147470371"/>
            <ac:spMk id="6" creationId="{C4283A58-5161-2AE5-E85B-C504DB8DE46F}"/>
          </ac:spMkLst>
        </pc:spChg>
        <pc:spChg chg="mod">
          <ac:chgData name="Sriram Ravishankar" userId="a2a4d519-b907-4ab2-a615-20e125523613" providerId="ADAL" clId="{426F113E-5E49-4585-A1F6-547F8849998D}" dt="2023-04-21T17:54:36.378" v="341" actId="20577"/>
          <ac:spMkLst>
            <pc:docMk/>
            <pc:sldMk cId="1732894533" sldId="2147470371"/>
            <ac:spMk id="7" creationId="{5CFA93B1-6B6E-90CC-8F97-DBE92D8BBF25}"/>
          </ac:spMkLst>
        </pc:spChg>
      </pc:sldChg>
      <pc:sldChg chg="add del">
        <pc:chgData name="Sriram Ravishankar" userId="a2a4d519-b907-4ab2-a615-20e125523613" providerId="ADAL" clId="{426F113E-5E49-4585-A1F6-547F8849998D}" dt="2023-04-21T17:25:06.871" v="64"/>
        <pc:sldMkLst>
          <pc:docMk/>
          <pc:sldMk cId="3661711495" sldId="2147470371"/>
        </pc:sldMkLst>
      </pc:sldChg>
      <pc:sldChg chg="del">
        <pc:chgData name="Sriram Ravishankar" userId="a2a4d519-b907-4ab2-a615-20e125523613" providerId="ADAL" clId="{426F113E-5E49-4585-A1F6-547F8849998D}" dt="2023-04-21T10:47:17.315" v="1" actId="47"/>
        <pc:sldMkLst>
          <pc:docMk/>
          <pc:sldMk cId="4242201430" sldId="2147470371"/>
        </pc:sldMkLst>
      </pc:sldChg>
      <pc:sldChg chg="addSp delSp modSp new mod">
        <pc:chgData name="Sriram Ravishankar" userId="a2a4d519-b907-4ab2-a615-20e125523613" providerId="ADAL" clId="{426F113E-5E49-4585-A1F6-547F8849998D}" dt="2023-04-21T17:32:55.715" v="173" actId="404"/>
        <pc:sldMkLst>
          <pc:docMk/>
          <pc:sldMk cId="1023971464" sldId="2147470372"/>
        </pc:sldMkLst>
        <pc:spChg chg="del mod">
          <ac:chgData name="Sriram Ravishankar" userId="a2a4d519-b907-4ab2-a615-20e125523613" providerId="ADAL" clId="{426F113E-5E49-4585-A1F6-547F8849998D}" dt="2023-04-21T17:30:15.289" v="107"/>
          <ac:spMkLst>
            <pc:docMk/>
            <pc:sldMk cId="1023971464" sldId="2147470372"/>
            <ac:spMk id="2" creationId="{65223EA6-CFC9-000E-8A05-9A0E8705A780}"/>
          </ac:spMkLst>
        </pc:spChg>
        <pc:spChg chg="del">
          <ac:chgData name="Sriram Ravishankar" userId="a2a4d519-b907-4ab2-a615-20e125523613" providerId="ADAL" clId="{426F113E-5E49-4585-A1F6-547F8849998D}" dt="2023-04-21T17:30:06.252" v="104" actId="478"/>
          <ac:spMkLst>
            <pc:docMk/>
            <pc:sldMk cId="1023971464" sldId="2147470372"/>
            <ac:spMk id="3" creationId="{B2DC5AA6-A64A-206E-FD3D-78E8FD6B30E4}"/>
          </ac:spMkLst>
        </pc:spChg>
        <pc:spChg chg="del">
          <ac:chgData name="Sriram Ravishankar" userId="a2a4d519-b907-4ab2-a615-20e125523613" providerId="ADAL" clId="{426F113E-5E49-4585-A1F6-547F8849998D}" dt="2023-04-21T17:30:05.333" v="103" actId="478"/>
          <ac:spMkLst>
            <pc:docMk/>
            <pc:sldMk cId="1023971464" sldId="2147470372"/>
            <ac:spMk id="4" creationId="{119E14EB-8ED3-E486-0C00-E144E505926E}"/>
          </ac:spMkLst>
        </pc:spChg>
        <pc:spChg chg="mod">
          <ac:chgData name="Sriram Ravishankar" userId="a2a4d519-b907-4ab2-a615-20e125523613" providerId="ADAL" clId="{426F113E-5E49-4585-A1F6-547F8849998D}" dt="2023-04-21T17:32:55.715" v="173" actId="404"/>
          <ac:spMkLst>
            <pc:docMk/>
            <pc:sldMk cId="1023971464" sldId="2147470372"/>
            <ac:spMk id="5" creationId="{C5A55897-2FB4-4E21-53F3-9C954A5954E3}"/>
          </ac:spMkLst>
        </pc:spChg>
        <pc:spChg chg="add mod">
          <ac:chgData name="Sriram Ravishankar" userId="a2a4d519-b907-4ab2-a615-20e125523613" providerId="ADAL" clId="{426F113E-5E49-4585-A1F6-547F8849998D}" dt="2023-04-21T17:32:17.538" v="161" actId="255"/>
          <ac:spMkLst>
            <pc:docMk/>
            <pc:sldMk cId="1023971464" sldId="2147470372"/>
            <ac:spMk id="8" creationId="{154EDC1A-ACFF-2F81-BCAC-69A18597B22F}"/>
          </ac:spMkLst>
        </pc:spChg>
        <pc:spChg chg="add del">
          <ac:chgData name="Sriram Ravishankar" userId="a2a4d519-b907-4ab2-a615-20e125523613" providerId="ADAL" clId="{426F113E-5E49-4585-A1F6-547F8849998D}" dt="2023-04-21T17:31:13.208" v="128"/>
          <ac:spMkLst>
            <pc:docMk/>
            <pc:sldMk cId="1023971464" sldId="2147470372"/>
            <ac:spMk id="9" creationId="{8BC2F773-706B-B00C-F796-A45E67B58C54}"/>
          </ac:spMkLst>
        </pc:spChg>
        <pc:picChg chg="add mod">
          <ac:chgData name="Sriram Ravishankar" userId="a2a4d519-b907-4ab2-a615-20e125523613" providerId="ADAL" clId="{426F113E-5E49-4585-A1F6-547F8849998D}" dt="2023-04-21T17:30:22.769" v="110" actId="1076"/>
          <ac:picMkLst>
            <pc:docMk/>
            <pc:sldMk cId="1023971464" sldId="2147470372"/>
            <ac:picMk id="1026" creationId="{133A6CC4-60A5-C2A3-AA7F-8B6A08261D9E}"/>
          </ac:picMkLst>
        </pc:picChg>
      </pc:sldChg>
      <pc:sldChg chg="modSp add mod">
        <pc:chgData name="Sriram Ravishankar" userId="a2a4d519-b907-4ab2-a615-20e125523613" providerId="ADAL" clId="{426F113E-5E49-4585-A1F6-547F8849998D}" dt="2023-04-21T18:11:00.034" v="418" actId="404"/>
        <pc:sldMkLst>
          <pc:docMk/>
          <pc:sldMk cId="326766969" sldId="2147470373"/>
        </pc:sldMkLst>
        <pc:spChg chg="mod">
          <ac:chgData name="Sriram Ravishankar" userId="a2a4d519-b907-4ab2-a615-20e125523613" providerId="ADAL" clId="{426F113E-5E49-4585-A1F6-547F8849998D}" dt="2023-04-21T17:59:46.157" v="382" actId="20577"/>
          <ac:spMkLst>
            <pc:docMk/>
            <pc:sldMk cId="326766969" sldId="2147470373"/>
            <ac:spMk id="4" creationId="{1FBB8722-0A57-B024-078A-33220F1B27CE}"/>
          </ac:spMkLst>
        </pc:spChg>
        <pc:spChg chg="mod">
          <ac:chgData name="Sriram Ravishankar" userId="a2a4d519-b907-4ab2-a615-20e125523613" providerId="ADAL" clId="{426F113E-5E49-4585-A1F6-547F8849998D}" dt="2023-04-21T18:11:00.034" v="418" actId="404"/>
          <ac:spMkLst>
            <pc:docMk/>
            <pc:sldMk cId="326766969" sldId="2147470373"/>
            <ac:spMk id="5" creationId="{ED884C86-3009-CA12-B06C-8BED88B99CEB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svg"/><Relationship Id="rId1" Type="http://schemas.openxmlformats.org/officeDocument/2006/relationships/image" Target="../media/image56.png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59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svg"/><Relationship Id="rId1" Type="http://schemas.openxmlformats.org/officeDocument/2006/relationships/image" Target="../media/image62.png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svg"/><Relationship Id="rId1" Type="http://schemas.openxmlformats.org/officeDocument/2006/relationships/image" Target="../media/image56.png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59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svg"/><Relationship Id="rId1" Type="http://schemas.openxmlformats.org/officeDocument/2006/relationships/image" Target="../media/image62.png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2442B5-931C-41AF-A12B-E58203CA1E45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D68D6A9-AE46-43F3-B3C2-4D75ED72ABF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AWS SAGEMAKER</a:t>
          </a:r>
        </a:p>
      </dgm:t>
    </dgm:pt>
    <dgm:pt modelId="{3EF6CFC0-9649-44A6-9AC1-E064F588A9DE}" type="parTrans" cxnId="{C9C8D3DC-4A73-44F3-B520-90A19ED4FCC1}">
      <dgm:prSet/>
      <dgm:spPr/>
      <dgm:t>
        <a:bodyPr/>
        <a:lstStyle/>
        <a:p>
          <a:endParaRPr lang="en-US"/>
        </a:p>
      </dgm:t>
    </dgm:pt>
    <dgm:pt modelId="{BE676EE4-E0A1-44B2-BF6E-3E63F6B1B368}" type="sibTrans" cxnId="{C9C8D3DC-4A73-44F3-B520-90A19ED4FCC1}">
      <dgm:prSet/>
      <dgm:spPr/>
      <dgm:t>
        <a:bodyPr/>
        <a:lstStyle/>
        <a:p>
          <a:endParaRPr lang="en-US"/>
        </a:p>
      </dgm:t>
    </dgm:pt>
    <dgm:pt modelId="{3F2953EE-24BD-42EA-9B59-19ADD7F2ADB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NVIDIA DGX</a:t>
          </a:r>
        </a:p>
      </dgm:t>
    </dgm:pt>
    <dgm:pt modelId="{185DD7C5-47B4-40C2-88FA-62DFD5141B2C}" type="parTrans" cxnId="{8B0E46D3-942D-4426-9B0F-463780AD6B1A}">
      <dgm:prSet/>
      <dgm:spPr/>
      <dgm:t>
        <a:bodyPr/>
        <a:lstStyle/>
        <a:p>
          <a:endParaRPr lang="en-US"/>
        </a:p>
      </dgm:t>
    </dgm:pt>
    <dgm:pt modelId="{416BC0EE-0984-43EA-B7BB-EECA43E1145F}" type="sibTrans" cxnId="{8B0E46D3-942D-4426-9B0F-463780AD6B1A}">
      <dgm:prSet/>
      <dgm:spPr/>
      <dgm:t>
        <a:bodyPr/>
        <a:lstStyle/>
        <a:p>
          <a:endParaRPr lang="en-US"/>
        </a:p>
      </dgm:t>
    </dgm:pt>
    <dgm:pt modelId="{5B701EEB-1856-4DF9-A10F-31B43ADF42A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HUGGING FACE</a:t>
          </a:r>
        </a:p>
      </dgm:t>
    </dgm:pt>
    <dgm:pt modelId="{96AD2963-3F0B-40C9-9D2C-2E6BFC013961}" type="parTrans" cxnId="{E8AD5DCD-D11D-4FD0-8E2D-6E2C0278A553}">
      <dgm:prSet/>
      <dgm:spPr/>
      <dgm:t>
        <a:bodyPr/>
        <a:lstStyle/>
        <a:p>
          <a:endParaRPr lang="en-US"/>
        </a:p>
      </dgm:t>
    </dgm:pt>
    <dgm:pt modelId="{D02150D5-3A91-4C04-A608-681F675CBACC}" type="sibTrans" cxnId="{E8AD5DCD-D11D-4FD0-8E2D-6E2C0278A553}">
      <dgm:prSet/>
      <dgm:spPr/>
      <dgm:t>
        <a:bodyPr/>
        <a:lstStyle/>
        <a:p>
          <a:endParaRPr lang="en-US"/>
        </a:p>
      </dgm:t>
    </dgm:pt>
    <dgm:pt modelId="{46913517-17F4-4811-A938-06C670C219D0}" type="pres">
      <dgm:prSet presAssocID="{A42442B5-931C-41AF-A12B-E58203CA1E45}" presName="root" presStyleCnt="0">
        <dgm:presLayoutVars>
          <dgm:dir/>
          <dgm:resizeHandles val="exact"/>
        </dgm:presLayoutVars>
      </dgm:prSet>
      <dgm:spPr/>
    </dgm:pt>
    <dgm:pt modelId="{59F3CAFE-4B5D-4B11-82F0-687AF2C34DDB}" type="pres">
      <dgm:prSet presAssocID="{BD68D6A9-AE46-43F3-B3C2-4D75ED72ABF3}" presName="compNode" presStyleCnt="0"/>
      <dgm:spPr/>
    </dgm:pt>
    <dgm:pt modelId="{264C7778-4213-4ACB-A22E-61933AC9E3A1}" type="pres">
      <dgm:prSet presAssocID="{BD68D6A9-AE46-43F3-B3C2-4D75ED72ABF3}" presName="bgRect" presStyleLbl="bgShp" presStyleIdx="0" presStyleCnt="3"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</dgm:pt>
    <dgm:pt modelId="{F80200C6-DA07-49D7-A896-D8CA9CBC2EE8}" type="pres">
      <dgm:prSet presAssocID="{BD68D6A9-AE46-43F3-B3C2-4D75ED72ABF3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eploy"/>
        </a:ext>
      </dgm:extLst>
    </dgm:pt>
    <dgm:pt modelId="{337EE674-7A1A-471A-9A77-4DE9A6735B95}" type="pres">
      <dgm:prSet presAssocID="{BD68D6A9-AE46-43F3-B3C2-4D75ED72ABF3}" presName="spaceRect" presStyleCnt="0"/>
      <dgm:spPr/>
    </dgm:pt>
    <dgm:pt modelId="{AF5D05C1-E18B-4282-817D-3E896F1E077D}" type="pres">
      <dgm:prSet presAssocID="{BD68D6A9-AE46-43F3-B3C2-4D75ED72ABF3}" presName="parTx" presStyleLbl="revTx" presStyleIdx="0" presStyleCnt="3">
        <dgm:presLayoutVars>
          <dgm:chMax val="0"/>
          <dgm:chPref val="0"/>
        </dgm:presLayoutVars>
      </dgm:prSet>
      <dgm:spPr/>
    </dgm:pt>
    <dgm:pt modelId="{8EC00FCF-5651-47A1-9266-2FF01F948A2D}" type="pres">
      <dgm:prSet presAssocID="{BE676EE4-E0A1-44B2-BF6E-3E63F6B1B368}" presName="sibTrans" presStyleCnt="0"/>
      <dgm:spPr/>
    </dgm:pt>
    <dgm:pt modelId="{29A4DAD6-A012-4AC8-8F21-0EFC1CC2B92C}" type="pres">
      <dgm:prSet presAssocID="{3F2953EE-24BD-42EA-9B59-19ADD7F2ADB4}" presName="compNode" presStyleCnt="0"/>
      <dgm:spPr/>
    </dgm:pt>
    <dgm:pt modelId="{0DAA1110-0CE0-429E-B98C-C6505DC4F451}" type="pres">
      <dgm:prSet presAssocID="{3F2953EE-24BD-42EA-9B59-19ADD7F2ADB4}" presName="bgRect" presStyleLbl="bgShp" presStyleIdx="1" presStyleCnt="3"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</dgm:pt>
    <dgm:pt modelId="{6DC11D61-590D-4486-BF24-027E6EF9B3A3}" type="pres">
      <dgm:prSet presAssocID="{3F2953EE-24BD-42EA-9B59-19ADD7F2ADB4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ablet"/>
        </a:ext>
      </dgm:extLst>
    </dgm:pt>
    <dgm:pt modelId="{656CF798-7082-42B1-8A9A-D390AA3E266A}" type="pres">
      <dgm:prSet presAssocID="{3F2953EE-24BD-42EA-9B59-19ADD7F2ADB4}" presName="spaceRect" presStyleCnt="0"/>
      <dgm:spPr/>
    </dgm:pt>
    <dgm:pt modelId="{6309C4D3-3B7B-4113-8FC8-6F733DC2E439}" type="pres">
      <dgm:prSet presAssocID="{3F2953EE-24BD-42EA-9B59-19ADD7F2ADB4}" presName="parTx" presStyleLbl="revTx" presStyleIdx="1" presStyleCnt="3">
        <dgm:presLayoutVars>
          <dgm:chMax val="0"/>
          <dgm:chPref val="0"/>
        </dgm:presLayoutVars>
      </dgm:prSet>
      <dgm:spPr/>
    </dgm:pt>
    <dgm:pt modelId="{3D2B5343-7952-48EB-A5F0-A86EF24D94BF}" type="pres">
      <dgm:prSet presAssocID="{416BC0EE-0984-43EA-B7BB-EECA43E1145F}" presName="sibTrans" presStyleCnt="0"/>
      <dgm:spPr/>
    </dgm:pt>
    <dgm:pt modelId="{3C634C2A-FBBA-4C91-85DF-EDE954F2E3D9}" type="pres">
      <dgm:prSet presAssocID="{5B701EEB-1856-4DF9-A10F-31B43ADF42A2}" presName="compNode" presStyleCnt="0"/>
      <dgm:spPr/>
    </dgm:pt>
    <dgm:pt modelId="{B756D39A-C27A-4750-90DE-9A4CBB9C2828}" type="pres">
      <dgm:prSet presAssocID="{5B701EEB-1856-4DF9-A10F-31B43ADF42A2}" presName="bgRect" presStyleLbl="bgShp" presStyleIdx="2" presStyleCnt="3"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</dgm:pt>
    <dgm:pt modelId="{4E62408D-2718-4E87-94E2-C8A1A440404A}" type="pres">
      <dgm:prSet presAssocID="{5B701EEB-1856-4DF9-A10F-31B43ADF42A2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oji"/>
        </a:ext>
      </dgm:extLst>
    </dgm:pt>
    <dgm:pt modelId="{10069ED8-D366-44DD-8AAC-5B176CB6D7FC}" type="pres">
      <dgm:prSet presAssocID="{5B701EEB-1856-4DF9-A10F-31B43ADF42A2}" presName="spaceRect" presStyleCnt="0"/>
      <dgm:spPr/>
    </dgm:pt>
    <dgm:pt modelId="{DD7C29BF-13DA-41C4-A524-DAE9C6D443CD}" type="pres">
      <dgm:prSet presAssocID="{5B701EEB-1856-4DF9-A10F-31B43ADF42A2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5CDC4B26-EFD2-47C6-AB75-3CEA2AD81845}" type="presOf" srcId="{A42442B5-931C-41AF-A12B-E58203CA1E45}" destId="{46913517-17F4-4811-A938-06C670C219D0}" srcOrd="0" destOrd="0" presId="urn:microsoft.com/office/officeart/2018/2/layout/IconVerticalSolidList"/>
    <dgm:cxn modelId="{A0BDA93F-722C-4DBB-B238-06878895015A}" type="presOf" srcId="{BD68D6A9-AE46-43F3-B3C2-4D75ED72ABF3}" destId="{AF5D05C1-E18B-4282-817D-3E896F1E077D}" srcOrd="0" destOrd="0" presId="urn:microsoft.com/office/officeart/2018/2/layout/IconVerticalSolidList"/>
    <dgm:cxn modelId="{15F8937B-A669-487F-87E5-B36BC128CB59}" type="presOf" srcId="{5B701EEB-1856-4DF9-A10F-31B43ADF42A2}" destId="{DD7C29BF-13DA-41C4-A524-DAE9C6D443CD}" srcOrd="0" destOrd="0" presId="urn:microsoft.com/office/officeart/2018/2/layout/IconVerticalSolidList"/>
    <dgm:cxn modelId="{E8AD5DCD-D11D-4FD0-8E2D-6E2C0278A553}" srcId="{A42442B5-931C-41AF-A12B-E58203CA1E45}" destId="{5B701EEB-1856-4DF9-A10F-31B43ADF42A2}" srcOrd="2" destOrd="0" parTransId="{96AD2963-3F0B-40C9-9D2C-2E6BFC013961}" sibTransId="{D02150D5-3A91-4C04-A608-681F675CBACC}"/>
    <dgm:cxn modelId="{8B0E46D3-942D-4426-9B0F-463780AD6B1A}" srcId="{A42442B5-931C-41AF-A12B-E58203CA1E45}" destId="{3F2953EE-24BD-42EA-9B59-19ADD7F2ADB4}" srcOrd="1" destOrd="0" parTransId="{185DD7C5-47B4-40C2-88FA-62DFD5141B2C}" sibTransId="{416BC0EE-0984-43EA-B7BB-EECA43E1145F}"/>
    <dgm:cxn modelId="{C9C8D3DC-4A73-44F3-B520-90A19ED4FCC1}" srcId="{A42442B5-931C-41AF-A12B-E58203CA1E45}" destId="{BD68D6A9-AE46-43F3-B3C2-4D75ED72ABF3}" srcOrd="0" destOrd="0" parTransId="{3EF6CFC0-9649-44A6-9AC1-E064F588A9DE}" sibTransId="{BE676EE4-E0A1-44B2-BF6E-3E63F6B1B368}"/>
    <dgm:cxn modelId="{4CEFB0E8-4872-42A5-9D68-7437CF9002B4}" type="presOf" srcId="{3F2953EE-24BD-42EA-9B59-19ADD7F2ADB4}" destId="{6309C4D3-3B7B-4113-8FC8-6F733DC2E439}" srcOrd="0" destOrd="0" presId="urn:microsoft.com/office/officeart/2018/2/layout/IconVerticalSolidList"/>
    <dgm:cxn modelId="{EC003F96-9109-41BA-867B-F799DD0D58A9}" type="presParOf" srcId="{46913517-17F4-4811-A938-06C670C219D0}" destId="{59F3CAFE-4B5D-4B11-82F0-687AF2C34DDB}" srcOrd="0" destOrd="0" presId="urn:microsoft.com/office/officeart/2018/2/layout/IconVerticalSolidList"/>
    <dgm:cxn modelId="{4D8F8CD0-C726-4590-B5CC-22511F81FB4C}" type="presParOf" srcId="{59F3CAFE-4B5D-4B11-82F0-687AF2C34DDB}" destId="{264C7778-4213-4ACB-A22E-61933AC9E3A1}" srcOrd="0" destOrd="0" presId="urn:microsoft.com/office/officeart/2018/2/layout/IconVerticalSolidList"/>
    <dgm:cxn modelId="{C5005079-110E-4D32-97CD-6AEDBF470703}" type="presParOf" srcId="{59F3CAFE-4B5D-4B11-82F0-687AF2C34DDB}" destId="{F80200C6-DA07-49D7-A896-D8CA9CBC2EE8}" srcOrd="1" destOrd="0" presId="urn:microsoft.com/office/officeart/2018/2/layout/IconVerticalSolidList"/>
    <dgm:cxn modelId="{0D38CB3D-35FE-443A-B619-8CF840FC7727}" type="presParOf" srcId="{59F3CAFE-4B5D-4B11-82F0-687AF2C34DDB}" destId="{337EE674-7A1A-471A-9A77-4DE9A6735B95}" srcOrd="2" destOrd="0" presId="urn:microsoft.com/office/officeart/2018/2/layout/IconVerticalSolidList"/>
    <dgm:cxn modelId="{87DA7099-8B4E-44E0-B250-D8F384F78928}" type="presParOf" srcId="{59F3CAFE-4B5D-4B11-82F0-687AF2C34DDB}" destId="{AF5D05C1-E18B-4282-817D-3E896F1E077D}" srcOrd="3" destOrd="0" presId="urn:microsoft.com/office/officeart/2018/2/layout/IconVerticalSolidList"/>
    <dgm:cxn modelId="{A83CC120-E408-4DC6-AF14-5FAB8FC62C84}" type="presParOf" srcId="{46913517-17F4-4811-A938-06C670C219D0}" destId="{8EC00FCF-5651-47A1-9266-2FF01F948A2D}" srcOrd="1" destOrd="0" presId="urn:microsoft.com/office/officeart/2018/2/layout/IconVerticalSolidList"/>
    <dgm:cxn modelId="{1BFBCAAD-B438-4C00-83D8-AD565693801A}" type="presParOf" srcId="{46913517-17F4-4811-A938-06C670C219D0}" destId="{29A4DAD6-A012-4AC8-8F21-0EFC1CC2B92C}" srcOrd="2" destOrd="0" presId="urn:microsoft.com/office/officeart/2018/2/layout/IconVerticalSolidList"/>
    <dgm:cxn modelId="{74C9833D-641F-441F-A24B-E41CF688DF13}" type="presParOf" srcId="{29A4DAD6-A012-4AC8-8F21-0EFC1CC2B92C}" destId="{0DAA1110-0CE0-429E-B98C-C6505DC4F451}" srcOrd="0" destOrd="0" presId="urn:microsoft.com/office/officeart/2018/2/layout/IconVerticalSolidList"/>
    <dgm:cxn modelId="{B93E68F0-EDA7-4029-A793-B2FC4EBE806B}" type="presParOf" srcId="{29A4DAD6-A012-4AC8-8F21-0EFC1CC2B92C}" destId="{6DC11D61-590D-4486-BF24-027E6EF9B3A3}" srcOrd="1" destOrd="0" presId="urn:microsoft.com/office/officeart/2018/2/layout/IconVerticalSolidList"/>
    <dgm:cxn modelId="{387B59C6-27D3-4C5E-A6F2-15DAB5A123E7}" type="presParOf" srcId="{29A4DAD6-A012-4AC8-8F21-0EFC1CC2B92C}" destId="{656CF798-7082-42B1-8A9A-D390AA3E266A}" srcOrd="2" destOrd="0" presId="urn:microsoft.com/office/officeart/2018/2/layout/IconVerticalSolidList"/>
    <dgm:cxn modelId="{D5860810-1293-4DD7-BD01-E3CEDE173308}" type="presParOf" srcId="{29A4DAD6-A012-4AC8-8F21-0EFC1CC2B92C}" destId="{6309C4D3-3B7B-4113-8FC8-6F733DC2E439}" srcOrd="3" destOrd="0" presId="urn:microsoft.com/office/officeart/2018/2/layout/IconVerticalSolidList"/>
    <dgm:cxn modelId="{CC9E4B82-0598-40F3-A855-72538C3D1DAB}" type="presParOf" srcId="{46913517-17F4-4811-A938-06C670C219D0}" destId="{3D2B5343-7952-48EB-A5F0-A86EF24D94BF}" srcOrd="3" destOrd="0" presId="urn:microsoft.com/office/officeart/2018/2/layout/IconVerticalSolidList"/>
    <dgm:cxn modelId="{B21D575F-C28B-4CE9-9ACB-4B226E1CFFCA}" type="presParOf" srcId="{46913517-17F4-4811-A938-06C670C219D0}" destId="{3C634C2A-FBBA-4C91-85DF-EDE954F2E3D9}" srcOrd="4" destOrd="0" presId="urn:microsoft.com/office/officeart/2018/2/layout/IconVerticalSolidList"/>
    <dgm:cxn modelId="{2AA1347B-E10A-4FC7-B506-8EA9134D579B}" type="presParOf" srcId="{3C634C2A-FBBA-4C91-85DF-EDE954F2E3D9}" destId="{B756D39A-C27A-4750-90DE-9A4CBB9C2828}" srcOrd="0" destOrd="0" presId="urn:microsoft.com/office/officeart/2018/2/layout/IconVerticalSolidList"/>
    <dgm:cxn modelId="{F7E41B3F-E7B8-4156-B110-DAD1C05C1287}" type="presParOf" srcId="{3C634C2A-FBBA-4C91-85DF-EDE954F2E3D9}" destId="{4E62408D-2718-4E87-94E2-C8A1A440404A}" srcOrd="1" destOrd="0" presId="urn:microsoft.com/office/officeart/2018/2/layout/IconVerticalSolidList"/>
    <dgm:cxn modelId="{99443F87-3D4D-4088-B252-0CC5AE05DE4B}" type="presParOf" srcId="{3C634C2A-FBBA-4C91-85DF-EDE954F2E3D9}" destId="{10069ED8-D366-44DD-8AAC-5B176CB6D7FC}" srcOrd="2" destOrd="0" presId="urn:microsoft.com/office/officeart/2018/2/layout/IconVerticalSolidList"/>
    <dgm:cxn modelId="{004ED2C6-7189-4620-8255-B93470C000D6}" type="presParOf" srcId="{3C634C2A-FBBA-4C91-85DF-EDE954F2E3D9}" destId="{DD7C29BF-13DA-41C4-A524-DAE9C6D443C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1BFD681-9C0F-4C92-A135-7A6810CB701D}" type="doc">
      <dgm:prSet loTypeId="urn:microsoft.com/office/officeart/2018/5/layout/IconLeaf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DA859BD-6957-4B71-B803-4AD2C94C111F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b="1"/>
            <a:t>Extend GAN As A Service to Generative AI As A Service </a:t>
          </a:r>
          <a:endParaRPr lang="en-US" b="1" dirty="0"/>
        </a:p>
      </dgm:t>
    </dgm:pt>
    <dgm:pt modelId="{2F9E2904-C618-47E4-8036-080D907617CA}" type="parTrans" cxnId="{16E96627-00D3-440B-9F7D-74BD1850F7A5}">
      <dgm:prSet/>
      <dgm:spPr/>
      <dgm:t>
        <a:bodyPr/>
        <a:lstStyle/>
        <a:p>
          <a:endParaRPr lang="en-US"/>
        </a:p>
      </dgm:t>
    </dgm:pt>
    <dgm:pt modelId="{E29DB964-EB5C-4932-A1C7-1231EEA3782C}" type="sibTrans" cxnId="{16E96627-00D3-440B-9F7D-74BD1850F7A5}">
      <dgm:prSet/>
      <dgm:spPr/>
      <dgm:t>
        <a:bodyPr/>
        <a:lstStyle/>
        <a:p>
          <a:endParaRPr lang="en-US"/>
        </a:p>
      </dgm:t>
    </dgm:pt>
    <dgm:pt modelId="{3D3AF774-A607-497A-9E9C-12A8EFA0807D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b="1"/>
            <a:t>Onboard third-party state-of-the-art pre-trained models as a premium service</a:t>
          </a:r>
          <a:endParaRPr lang="en-US" b="1" dirty="0"/>
        </a:p>
      </dgm:t>
    </dgm:pt>
    <dgm:pt modelId="{02D60AE2-624E-4D62-9C67-490752186575}" type="parTrans" cxnId="{C64EB3DC-7B14-41E5-B29E-CF108E55EFC6}">
      <dgm:prSet/>
      <dgm:spPr/>
      <dgm:t>
        <a:bodyPr/>
        <a:lstStyle/>
        <a:p>
          <a:endParaRPr lang="en-US"/>
        </a:p>
      </dgm:t>
    </dgm:pt>
    <dgm:pt modelId="{EFE55B21-40DB-4D19-8EE7-508B80896483}" type="sibTrans" cxnId="{C64EB3DC-7B14-41E5-B29E-CF108E55EFC6}">
      <dgm:prSet/>
      <dgm:spPr/>
      <dgm:t>
        <a:bodyPr/>
        <a:lstStyle/>
        <a:p>
          <a:endParaRPr lang="en-US"/>
        </a:p>
      </dgm:t>
    </dgm:pt>
    <dgm:pt modelId="{BDC78F6E-AFE3-402C-B294-0F5969691EE9}">
      <dgm:prSet phldr="0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b="1">
              <a:latin typeface="MetricHPE"/>
            </a:rPr>
            <a:t>Build Carbon-aware models</a:t>
          </a:r>
          <a:endParaRPr lang="en-US" b="1" dirty="0">
            <a:latin typeface="MetricHPE"/>
          </a:endParaRPr>
        </a:p>
      </dgm:t>
    </dgm:pt>
    <dgm:pt modelId="{FD5965A9-6EE0-4770-9686-409D539F6584}" type="parTrans" cxnId="{D394F0FA-CCBC-4DCA-8D32-768CE5ECEF9D}">
      <dgm:prSet/>
      <dgm:spPr/>
      <dgm:t>
        <a:bodyPr/>
        <a:lstStyle/>
        <a:p>
          <a:endParaRPr lang="en-GB"/>
        </a:p>
      </dgm:t>
    </dgm:pt>
    <dgm:pt modelId="{53C1E76C-16C9-44D8-A6CA-803F217FEEA8}" type="sibTrans" cxnId="{D394F0FA-CCBC-4DCA-8D32-768CE5ECEF9D}">
      <dgm:prSet/>
      <dgm:spPr/>
      <dgm:t>
        <a:bodyPr/>
        <a:lstStyle/>
        <a:p>
          <a:endParaRPr lang="en-GB"/>
        </a:p>
      </dgm:t>
    </dgm:pt>
    <dgm:pt modelId="{4A8BC7E5-6F8F-4D84-B063-BCA17B6A3246}" type="pres">
      <dgm:prSet presAssocID="{61BFD681-9C0F-4C92-A135-7A6810CB701D}" presName="root" presStyleCnt="0">
        <dgm:presLayoutVars>
          <dgm:dir/>
          <dgm:resizeHandles val="exact"/>
        </dgm:presLayoutVars>
      </dgm:prSet>
      <dgm:spPr/>
    </dgm:pt>
    <dgm:pt modelId="{12349F14-E301-4983-AA46-3ED636BC9996}" type="pres">
      <dgm:prSet presAssocID="{4DA859BD-6957-4B71-B803-4AD2C94C111F}" presName="compNode" presStyleCnt="0"/>
      <dgm:spPr/>
    </dgm:pt>
    <dgm:pt modelId="{4B49CCDD-523F-4BD8-9340-C7E92842F644}" type="pres">
      <dgm:prSet presAssocID="{4DA859BD-6957-4B71-B803-4AD2C94C111F}" presName="iconBgRect" presStyleLbl="bgShp" presStyleIdx="0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7664FD87-7C10-45BE-B26D-3A6561E3BC8B}" type="pres">
      <dgm:prSet presAssocID="{4DA859BD-6957-4B71-B803-4AD2C94C111F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1B97AACD-AA59-4CCA-93F1-57F002E1B9F4}" type="pres">
      <dgm:prSet presAssocID="{4DA859BD-6957-4B71-B803-4AD2C94C111F}" presName="spaceRect" presStyleCnt="0"/>
      <dgm:spPr/>
    </dgm:pt>
    <dgm:pt modelId="{5F0FC8CF-054A-4795-B1D5-B0891AEEE9CD}" type="pres">
      <dgm:prSet presAssocID="{4DA859BD-6957-4B71-B803-4AD2C94C111F}" presName="textRect" presStyleLbl="revTx" presStyleIdx="0" presStyleCnt="3">
        <dgm:presLayoutVars>
          <dgm:chMax val="1"/>
          <dgm:chPref val="1"/>
        </dgm:presLayoutVars>
      </dgm:prSet>
      <dgm:spPr/>
    </dgm:pt>
    <dgm:pt modelId="{B0ECC681-8664-4E18-8CB6-3B03ED1CFEC6}" type="pres">
      <dgm:prSet presAssocID="{E29DB964-EB5C-4932-A1C7-1231EEA3782C}" presName="sibTrans" presStyleCnt="0"/>
      <dgm:spPr/>
    </dgm:pt>
    <dgm:pt modelId="{A7C256B8-C656-4393-8233-AF808CFF9B0E}" type="pres">
      <dgm:prSet presAssocID="{3D3AF774-A607-497A-9E9C-12A8EFA0807D}" presName="compNode" presStyleCnt="0"/>
      <dgm:spPr/>
    </dgm:pt>
    <dgm:pt modelId="{E16FAA09-53D6-49E0-9B0C-1E8FBA5739E1}" type="pres">
      <dgm:prSet presAssocID="{3D3AF774-A607-497A-9E9C-12A8EFA0807D}" presName="iconBgRect" presStyleLbl="bgShp" presStyleIdx="1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D6C52551-221D-430A-9688-6A6B9D50928F}" type="pres">
      <dgm:prSet presAssocID="{3D3AF774-A607-497A-9E9C-12A8EFA0807D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heatre"/>
        </a:ext>
      </dgm:extLst>
    </dgm:pt>
    <dgm:pt modelId="{ED3CBB01-A474-46D6-A0B1-DD8540A4261F}" type="pres">
      <dgm:prSet presAssocID="{3D3AF774-A607-497A-9E9C-12A8EFA0807D}" presName="spaceRect" presStyleCnt="0"/>
      <dgm:spPr/>
    </dgm:pt>
    <dgm:pt modelId="{0558B3F1-EAD9-4ACB-A570-F64550C19EF5}" type="pres">
      <dgm:prSet presAssocID="{3D3AF774-A607-497A-9E9C-12A8EFA0807D}" presName="textRect" presStyleLbl="revTx" presStyleIdx="1" presStyleCnt="3">
        <dgm:presLayoutVars>
          <dgm:chMax val="1"/>
          <dgm:chPref val="1"/>
        </dgm:presLayoutVars>
      </dgm:prSet>
      <dgm:spPr/>
    </dgm:pt>
    <dgm:pt modelId="{006A9BE0-EB1B-4392-A0B7-31AE7217F891}" type="pres">
      <dgm:prSet presAssocID="{EFE55B21-40DB-4D19-8EE7-508B80896483}" presName="sibTrans" presStyleCnt="0"/>
      <dgm:spPr/>
    </dgm:pt>
    <dgm:pt modelId="{362B6940-6CDD-435B-A75B-211C9CD972E9}" type="pres">
      <dgm:prSet presAssocID="{BDC78F6E-AFE3-402C-B294-0F5969691EE9}" presName="compNode" presStyleCnt="0"/>
      <dgm:spPr/>
    </dgm:pt>
    <dgm:pt modelId="{96F9EC20-D918-49C8-82EA-9586A7D85839}" type="pres">
      <dgm:prSet presAssocID="{BDC78F6E-AFE3-402C-B294-0F5969691EE9}" presName="iconBgRect" presStyleLbl="bgShp" presStyleIdx="2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32AA02AB-0BA8-48F0-88AF-31225BDC5BFB}" type="pres">
      <dgm:prSet presAssocID="{BDC78F6E-AFE3-402C-B294-0F5969691EE9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Electric Car"/>
        </a:ext>
      </dgm:extLst>
    </dgm:pt>
    <dgm:pt modelId="{B28FFA8F-553F-4A61-95A3-71B61E3ECC27}" type="pres">
      <dgm:prSet presAssocID="{BDC78F6E-AFE3-402C-B294-0F5969691EE9}" presName="spaceRect" presStyleCnt="0"/>
      <dgm:spPr/>
    </dgm:pt>
    <dgm:pt modelId="{55522778-01E2-4257-9F09-25338DB719EF}" type="pres">
      <dgm:prSet presAssocID="{BDC78F6E-AFE3-402C-B294-0F5969691EE9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205CE921-5575-4742-A751-74356263C325}" type="presOf" srcId="{BDC78F6E-AFE3-402C-B294-0F5969691EE9}" destId="{55522778-01E2-4257-9F09-25338DB719EF}" srcOrd="0" destOrd="0" presId="urn:microsoft.com/office/officeart/2018/5/layout/IconLeafLabelList"/>
    <dgm:cxn modelId="{16E96627-00D3-440B-9F7D-74BD1850F7A5}" srcId="{61BFD681-9C0F-4C92-A135-7A6810CB701D}" destId="{4DA859BD-6957-4B71-B803-4AD2C94C111F}" srcOrd="0" destOrd="0" parTransId="{2F9E2904-C618-47E4-8036-080D907617CA}" sibTransId="{E29DB964-EB5C-4932-A1C7-1231EEA3782C}"/>
    <dgm:cxn modelId="{7F4B052C-959A-4E82-BF61-699E12894320}" type="presOf" srcId="{4DA859BD-6957-4B71-B803-4AD2C94C111F}" destId="{5F0FC8CF-054A-4795-B1D5-B0891AEEE9CD}" srcOrd="0" destOrd="0" presId="urn:microsoft.com/office/officeart/2018/5/layout/IconLeafLabelList"/>
    <dgm:cxn modelId="{05B8D954-AE9D-42AB-B4E7-D8B14718080B}" type="presOf" srcId="{61BFD681-9C0F-4C92-A135-7A6810CB701D}" destId="{4A8BC7E5-6F8F-4D84-B063-BCA17B6A3246}" srcOrd="0" destOrd="0" presId="urn:microsoft.com/office/officeart/2018/5/layout/IconLeafLabelList"/>
    <dgm:cxn modelId="{C64EB3DC-7B14-41E5-B29E-CF108E55EFC6}" srcId="{61BFD681-9C0F-4C92-A135-7A6810CB701D}" destId="{3D3AF774-A607-497A-9E9C-12A8EFA0807D}" srcOrd="1" destOrd="0" parTransId="{02D60AE2-624E-4D62-9C67-490752186575}" sibTransId="{EFE55B21-40DB-4D19-8EE7-508B80896483}"/>
    <dgm:cxn modelId="{D394F0FA-CCBC-4DCA-8D32-768CE5ECEF9D}" srcId="{61BFD681-9C0F-4C92-A135-7A6810CB701D}" destId="{BDC78F6E-AFE3-402C-B294-0F5969691EE9}" srcOrd="2" destOrd="0" parTransId="{FD5965A9-6EE0-4770-9686-409D539F6584}" sibTransId="{53C1E76C-16C9-44D8-A6CA-803F217FEEA8}"/>
    <dgm:cxn modelId="{488827FE-6808-4601-9235-1E0BE37EC6FC}" type="presOf" srcId="{3D3AF774-A607-497A-9E9C-12A8EFA0807D}" destId="{0558B3F1-EAD9-4ACB-A570-F64550C19EF5}" srcOrd="0" destOrd="0" presId="urn:microsoft.com/office/officeart/2018/5/layout/IconLeafLabelList"/>
    <dgm:cxn modelId="{83800738-29D7-45A5-A681-E9379511287D}" type="presParOf" srcId="{4A8BC7E5-6F8F-4D84-B063-BCA17B6A3246}" destId="{12349F14-E301-4983-AA46-3ED636BC9996}" srcOrd="0" destOrd="0" presId="urn:microsoft.com/office/officeart/2018/5/layout/IconLeafLabelList"/>
    <dgm:cxn modelId="{49F494AC-B957-4882-A2C8-9B46BF275AEB}" type="presParOf" srcId="{12349F14-E301-4983-AA46-3ED636BC9996}" destId="{4B49CCDD-523F-4BD8-9340-C7E92842F644}" srcOrd="0" destOrd="0" presId="urn:microsoft.com/office/officeart/2018/5/layout/IconLeafLabelList"/>
    <dgm:cxn modelId="{6D793576-45EB-4FD6-B9DE-7476066AE104}" type="presParOf" srcId="{12349F14-E301-4983-AA46-3ED636BC9996}" destId="{7664FD87-7C10-45BE-B26D-3A6561E3BC8B}" srcOrd="1" destOrd="0" presId="urn:microsoft.com/office/officeart/2018/5/layout/IconLeafLabelList"/>
    <dgm:cxn modelId="{85A22C51-A9E7-4878-9B2E-24B1F9BE81F7}" type="presParOf" srcId="{12349F14-E301-4983-AA46-3ED636BC9996}" destId="{1B97AACD-AA59-4CCA-93F1-57F002E1B9F4}" srcOrd="2" destOrd="0" presId="urn:microsoft.com/office/officeart/2018/5/layout/IconLeafLabelList"/>
    <dgm:cxn modelId="{CA2D2E26-BA7B-4D72-BEB8-048E5976DF5F}" type="presParOf" srcId="{12349F14-E301-4983-AA46-3ED636BC9996}" destId="{5F0FC8CF-054A-4795-B1D5-B0891AEEE9CD}" srcOrd="3" destOrd="0" presId="urn:microsoft.com/office/officeart/2018/5/layout/IconLeafLabelList"/>
    <dgm:cxn modelId="{41B24064-A817-468E-BB57-FFF8AB9363F2}" type="presParOf" srcId="{4A8BC7E5-6F8F-4D84-B063-BCA17B6A3246}" destId="{B0ECC681-8664-4E18-8CB6-3B03ED1CFEC6}" srcOrd="1" destOrd="0" presId="urn:microsoft.com/office/officeart/2018/5/layout/IconLeafLabelList"/>
    <dgm:cxn modelId="{32525F20-E298-4777-BEEC-E88EAE0FEF4B}" type="presParOf" srcId="{4A8BC7E5-6F8F-4D84-B063-BCA17B6A3246}" destId="{A7C256B8-C656-4393-8233-AF808CFF9B0E}" srcOrd="2" destOrd="0" presId="urn:microsoft.com/office/officeart/2018/5/layout/IconLeafLabelList"/>
    <dgm:cxn modelId="{D314CEE2-CD28-4E67-AEEA-329569EF936D}" type="presParOf" srcId="{A7C256B8-C656-4393-8233-AF808CFF9B0E}" destId="{E16FAA09-53D6-49E0-9B0C-1E8FBA5739E1}" srcOrd="0" destOrd="0" presId="urn:microsoft.com/office/officeart/2018/5/layout/IconLeafLabelList"/>
    <dgm:cxn modelId="{15D3DD26-F3A6-4C02-B545-274CFF151C27}" type="presParOf" srcId="{A7C256B8-C656-4393-8233-AF808CFF9B0E}" destId="{D6C52551-221D-430A-9688-6A6B9D50928F}" srcOrd="1" destOrd="0" presId="urn:microsoft.com/office/officeart/2018/5/layout/IconLeafLabelList"/>
    <dgm:cxn modelId="{8DDB9E4F-F299-47B8-969E-DAFE4704CA61}" type="presParOf" srcId="{A7C256B8-C656-4393-8233-AF808CFF9B0E}" destId="{ED3CBB01-A474-46D6-A0B1-DD8540A4261F}" srcOrd="2" destOrd="0" presId="urn:microsoft.com/office/officeart/2018/5/layout/IconLeafLabelList"/>
    <dgm:cxn modelId="{65B4AE02-234B-46CF-9341-C7E56AC2A6A3}" type="presParOf" srcId="{A7C256B8-C656-4393-8233-AF808CFF9B0E}" destId="{0558B3F1-EAD9-4ACB-A570-F64550C19EF5}" srcOrd="3" destOrd="0" presId="urn:microsoft.com/office/officeart/2018/5/layout/IconLeafLabelList"/>
    <dgm:cxn modelId="{66817C32-943B-4474-BD12-59B74C143156}" type="presParOf" srcId="{4A8BC7E5-6F8F-4D84-B063-BCA17B6A3246}" destId="{006A9BE0-EB1B-4392-A0B7-31AE7217F891}" srcOrd="3" destOrd="0" presId="urn:microsoft.com/office/officeart/2018/5/layout/IconLeafLabelList"/>
    <dgm:cxn modelId="{1E3F179F-5E4D-4859-94D4-4F2630A865A2}" type="presParOf" srcId="{4A8BC7E5-6F8F-4D84-B063-BCA17B6A3246}" destId="{362B6940-6CDD-435B-A75B-211C9CD972E9}" srcOrd="4" destOrd="0" presId="urn:microsoft.com/office/officeart/2018/5/layout/IconLeafLabelList"/>
    <dgm:cxn modelId="{876542BD-3943-469A-A0D5-0DAE9BC092C0}" type="presParOf" srcId="{362B6940-6CDD-435B-A75B-211C9CD972E9}" destId="{96F9EC20-D918-49C8-82EA-9586A7D85839}" srcOrd="0" destOrd="0" presId="urn:microsoft.com/office/officeart/2018/5/layout/IconLeafLabelList"/>
    <dgm:cxn modelId="{C5CF4199-2297-40AA-A829-815E5A19284C}" type="presParOf" srcId="{362B6940-6CDD-435B-A75B-211C9CD972E9}" destId="{32AA02AB-0BA8-48F0-88AF-31225BDC5BFB}" srcOrd="1" destOrd="0" presId="urn:microsoft.com/office/officeart/2018/5/layout/IconLeafLabelList"/>
    <dgm:cxn modelId="{1800E6BC-7EA3-4E32-8F15-ECB3DB3C8C91}" type="presParOf" srcId="{362B6940-6CDD-435B-A75B-211C9CD972E9}" destId="{B28FFA8F-553F-4A61-95A3-71B61E3ECC27}" srcOrd="2" destOrd="0" presId="urn:microsoft.com/office/officeart/2018/5/layout/IconLeafLabelList"/>
    <dgm:cxn modelId="{DEC3ABCE-7EB0-4B88-B372-F8E8DB809145}" type="presParOf" srcId="{362B6940-6CDD-435B-A75B-211C9CD972E9}" destId="{55522778-01E2-4257-9F09-25338DB719EF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4C7778-4213-4ACB-A22E-61933AC9E3A1}">
      <dsp:nvSpPr>
        <dsp:cNvPr id="0" name=""/>
        <dsp:cNvSpPr/>
      </dsp:nvSpPr>
      <dsp:spPr>
        <a:xfrm>
          <a:off x="0" y="430"/>
          <a:ext cx="9674810" cy="1006735"/>
        </a:xfrm>
        <a:prstGeom prst="roundRect">
          <a:avLst>
            <a:gd name="adj" fmla="val 10000"/>
          </a:avLst>
        </a:prstGeom>
        <a:solidFill>
          <a:schemeClr val="accent2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</dsp:sp>
    <dsp:sp modelId="{F80200C6-DA07-49D7-A896-D8CA9CBC2EE8}">
      <dsp:nvSpPr>
        <dsp:cNvPr id="0" name=""/>
        <dsp:cNvSpPr/>
      </dsp:nvSpPr>
      <dsp:spPr>
        <a:xfrm>
          <a:off x="304537" y="226945"/>
          <a:ext cx="553704" cy="55370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5D05C1-E18B-4282-817D-3E896F1E077D}">
      <dsp:nvSpPr>
        <dsp:cNvPr id="0" name=""/>
        <dsp:cNvSpPr/>
      </dsp:nvSpPr>
      <dsp:spPr>
        <a:xfrm>
          <a:off x="1162779" y="430"/>
          <a:ext cx="8512030" cy="10067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546" tIns="106546" rIns="106546" bIns="106546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1" kern="1200" dirty="0"/>
            <a:t>AWS SAGEMAKER</a:t>
          </a:r>
        </a:p>
      </dsp:txBody>
      <dsp:txXfrm>
        <a:off x="1162779" y="430"/>
        <a:ext cx="8512030" cy="1006735"/>
      </dsp:txXfrm>
    </dsp:sp>
    <dsp:sp modelId="{0DAA1110-0CE0-429E-B98C-C6505DC4F451}">
      <dsp:nvSpPr>
        <dsp:cNvPr id="0" name=""/>
        <dsp:cNvSpPr/>
      </dsp:nvSpPr>
      <dsp:spPr>
        <a:xfrm>
          <a:off x="0" y="1258849"/>
          <a:ext cx="9674810" cy="1006735"/>
        </a:xfrm>
        <a:prstGeom prst="roundRect">
          <a:avLst>
            <a:gd name="adj" fmla="val 10000"/>
          </a:avLst>
        </a:prstGeom>
        <a:solidFill>
          <a:schemeClr val="accent2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</dsp:sp>
    <dsp:sp modelId="{6DC11D61-590D-4486-BF24-027E6EF9B3A3}">
      <dsp:nvSpPr>
        <dsp:cNvPr id="0" name=""/>
        <dsp:cNvSpPr/>
      </dsp:nvSpPr>
      <dsp:spPr>
        <a:xfrm>
          <a:off x="304537" y="1485365"/>
          <a:ext cx="553704" cy="55370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09C4D3-3B7B-4113-8FC8-6F733DC2E439}">
      <dsp:nvSpPr>
        <dsp:cNvPr id="0" name=""/>
        <dsp:cNvSpPr/>
      </dsp:nvSpPr>
      <dsp:spPr>
        <a:xfrm>
          <a:off x="1162779" y="1258849"/>
          <a:ext cx="8512030" cy="10067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546" tIns="106546" rIns="106546" bIns="106546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1" kern="1200" dirty="0"/>
            <a:t>NVIDIA DGX</a:t>
          </a:r>
        </a:p>
      </dsp:txBody>
      <dsp:txXfrm>
        <a:off x="1162779" y="1258849"/>
        <a:ext cx="8512030" cy="1006735"/>
      </dsp:txXfrm>
    </dsp:sp>
    <dsp:sp modelId="{B756D39A-C27A-4750-90DE-9A4CBB9C2828}">
      <dsp:nvSpPr>
        <dsp:cNvPr id="0" name=""/>
        <dsp:cNvSpPr/>
      </dsp:nvSpPr>
      <dsp:spPr>
        <a:xfrm>
          <a:off x="0" y="2517269"/>
          <a:ext cx="9674810" cy="1006735"/>
        </a:xfrm>
        <a:prstGeom prst="roundRect">
          <a:avLst>
            <a:gd name="adj" fmla="val 10000"/>
          </a:avLst>
        </a:prstGeom>
        <a:solidFill>
          <a:schemeClr val="accent2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</dsp:sp>
    <dsp:sp modelId="{4E62408D-2718-4E87-94E2-C8A1A440404A}">
      <dsp:nvSpPr>
        <dsp:cNvPr id="0" name=""/>
        <dsp:cNvSpPr/>
      </dsp:nvSpPr>
      <dsp:spPr>
        <a:xfrm>
          <a:off x="304537" y="2743784"/>
          <a:ext cx="553704" cy="55370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7C29BF-13DA-41C4-A524-DAE9C6D443CD}">
      <dsp:nvSpPr>
        <dsp:cNvPr id="0" name=""/>
        <dsp:cNvSpPr/>
      </dsp:nvSpPr>
      <dsp:spPr>
        <a:xfrm>
          <a:off x="1162779" y="2517269"/>
          <a:ext cx="8512030" cy="10067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546" tIns="106546" rIns="106546" bIns="106546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1" kern="1200" dirty="0"/>
            <a:t>HUGGING FACE</a:t>
          </a:r>
        </a:p>
      </dsp:txBody>
      <dsp:txXfrm>
        <a:off x="1162779" y="2517269"/>
        <a:ext cx="8512030" cy="10067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49CCDD-523F-4BD8-9340-C7E92842F644}">
      <dsp:nvSpPr>
        <dsp:cNvPr id="0" name=""/>
        <dsp:cNvSpPr/>
      </dsp:nvSpPr>
      <dsp:spPr>
        <a:xfrm>
          <a:off x="707400" y="838799"/>
          <a:ext cx="2058750" cy="2058750"/>
        </a:xfrm>
        <a:prstGeom prst="round2DiagRect">
          <a:avLst>
            <a:gd name="adj1" fmla="val 29727"/>
            <a:gd name="adj2" fmla="val 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64FD87-7C10-45BE-B26D-3A6561E3BC8B}">
      <dsp:nvSpPr>
        <dsp:cNvPr id="0" name=""/>
        <dsp:cNvSpPr/>
      </dsp:nvSpPr>
      <dsp:spPr>
        <a:xfrm>
          <a:off x="1146150" y="1277549"/>
          <a:ext cx="1181250" cy="118125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0FC8CF-054A-4795-B1D5-B0891AEEE9CD}">
      <dsp:nvSpPr>
        <dsp:cNvPr id="0" name=""/>
        <dsp:cNvSpPr/>
      </dsp:nvSpPr>
      <dsp:spPr>
        <a:xfrm>
          <a:off x="49275" y="3538800"/>
          <a:ext cx="3375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b="1" kern="1200"/>
            <a:t>Extend GAN As A Service to Generative AI As A Service </a:t>
          </a:r>
          <a:endParaRPr lang="en-US" sz="1600" b="1" kern="1200" dirty="0"/>
        </a:p>
      </dsp:txBody>
      <dsp:txXfrm>
        <a:off x="49275" y="3538800"/>
        <a:ext cx="3375000" cy="720000"/>
      </dsp:txXfrm>
    </dsp:sp>
    <dsp:sp modelId="{E16FAA09-53D6-49E0-9B0C-1E8FBA5739E1}">
      <dsp:nvSpPr>
        <dsp:cNvPr id="0" name=""/>
        <dsp:cNvSpPr/>
      </dsp:nvSpPr>
      <dsp:spPr>
        <a:xfrm>
          <a:off x="4673025" y="838799"/>
          <a:ext cx="2058750" cy="2058750"/>
        </a:xfrm>
        <a:prstGeom prst="round2DiagRect">
          <a:avLst>
            <a:gd name="adj1" fmla="val 29727"/>
            <a:gd name="adj2" fmla="val 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C52551-221D-430A-9688-6A6B9D50928F}">
      <dsp:nvSpPr>
        <dsp:cNvPr id="0" name=""/>
        <dsp:cNvSpPr/>
      </dsp:nvSpPr>
      <dsp:spPr>
        <a:xfrm>
          <a:off x="5111775" y="1277549"/>
          <a:ext cx="1181250" cy="118125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58B3F1-EAD9-4ACB-A570-F64550C19EF5}">
      <dsp:nvSpPr>
        <dsp:cNvPr id="0" name=""/>
        <dsp:cNvSpPr/>
      </dsp:nvSpPr>
      <dsp:spPr>
        <a:xfrm>
          <a:off x="4014900" y="3538800"/>
          <a:ext cx="3375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b="1" kern="1200"/>
            <a:t>Onboard third-party state-of-the-art pre-trained models as a premium service</a:t>
          </a:r>
          <a:endParaRPr lang="en-US" sz="1600" b="1" kern="1200" dirty="0"/>
        </a:p>
      </dsp:txBody>
      <dsp:txXfrm>
        <a:off x="4014900" y="3538800"/>
        <a:ext cx="3375000" cy="720000"/>
      </dsp:txXfrm>
    </dsp:sp>
    <dsp:sp modelId="{96F9EC20-D918-49C8-82EA-9586A7D85839}">
      <dsp:nvSpPr>
        <dsp:cNvPr id="0" name=""/>
        <dsp:cNvSpPr/>
      </dsp:nvSpPr>
      <dsp:spPr>
        <a:xfrm>
          <a:off x="8638650" y="838799"/>
          <a:ext cx="2058750" cy="2058750"/>
        </a:xfrm>
        <a:prstGeom prst="round2DiagRect">
          <a:avLst>
            <a:gd name="adj1" fmla="val 29727"/>
            <a:gd name="adj2" fmla="val 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AA02AB-0BA8-48F0-88AF-31225BDC5BFB}">
      <dsp:nvSpPr>
        <dsp:cNvPr id="0" name=""/>
        <dsp:cNvSpPr/>
      </dsp:nvSpPr>
      <dsp:spPr>
        <a:xfrm>
          <a:off x="9077400" y="1277549"/>
          <a:ext cx="1181250" cy="118125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522778-01E2-4257-9F09-25338DB719EF}">
      <dsp:nvSpPr>
        <dsp:cNvPr id="0" name=""/>
        <dsp:cNvSpPr/>
      </dsp:nvSpPr>
      <dsp:spPr>
        <a:xfrm>
          <a:off x="7980525" y="3538800"/>
          <a:ext cx="3375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b="1" kern="1200">
              <a:latin typeface="MetricHPE"/>
            </a:rPr>
            <a:t>Build Carbon-aware models</a:t>
          </a:r>
          <a:endParaRPr lang="en-US" sz="1600" b="1" kern="1200" dirty="0">
            <a:latin typeface="MetricHPE"/>
          </a:endParaRPr>
        </a:p>
      </dsp:txBody>
      <dsp:txXfrm>
        <a:off x="7980525" y="3538800"/>
        <a:ext cx="337500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>
              <a:latin typeface="MetricHPE" panose="020B050303020206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>
                <a:latin typeface="MetricHPE" panose="020B0503030202060203" pitchFamily="34" charset="0"/>
              </a:rPr>
              <a:pPr/>
              <a:t>25-Apr-23</a:t>
            </a:fld>
            <a:endParaRPr>
              <a:latin typeface="MetricHPE" panose="020B050303020206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>
              <a:latin typeface="MetricHPE" panose="020B050303020206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>
                <a:latin typeface="MetricHPE" panose="020B0503030202060203" pitchFamily="34" charset="0"/>
              </a:rPr>
              <a:pPr/>
              <a:t>‹#›</a:t>
            </a:fld>
            <a:endParaRPr>
              <a:latin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latin typeface="MetricHPE" panose="020B05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latin typeface="MetricHPE" panose="020B0503030202060203" pitchFamily="34" charset="0"/>
              </a:defRPr>
            </a:lvl1pPr>
          </a:lstStyle>
          <a:p>
            <a:fld id="{5BFEAE42-E3FE-4405-B7FC-4425D05B92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" panose="020B0303030202060203" pitchFamily="34" charset="0"/>
      <a:buChar char=" "/>
      <a:defRPr sz="1100" kern="1200">
        <a:solidFill>
          <a:schemeClr val="tx1"/>
        </a:solidFill>
        <a:latin typeface="MetricHPE" panose="020B0503030202060203" pitchFamily="34" charset="0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1050" kern="1200">
        <a:solidFill>
          <a:schemeClr val="tx1"/>
        </a:solidFill>
        <a:latin typeface="MetricHPE" panose="020B0503030202060203" pitchFamily="34" charset="0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1000" kern="1200">
        <a:solidFill>
          <a:schemeClr val="tx1"/>
        </a:solidFill>
        <a:latin typeface="MetricHPE" panose="020B0503030202060203" pitchFamily="34" charset="0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900" kern="1200">
        <a:solidFill>
          <a:schemeClr val="tx1"/>
        </a:solidFill>
        <a:latin typeface="MetricHPE" panose="020B0503030202060203" pitchFamily="34" charset="0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800" kern="1200">
        <a:solidFill>
          <a:schemeClr val="tx1"/>
        </a:solidFill>
        <a:latin typeface="MetricHPE" panose="020B050303020206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lvl="1" indent="-13716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" panose="020B0303030202060203" pitchFamily="34" charset="0"/>
              <a:buChar char="–"/>
              <a:tabLst/>
              <a:defRPr/>
            </a:pPr>
            <a:r>
              <a:rPr lang="en-US" sz="1100" b="1">
                <a:solidFill>
                  <a:srgbClr val="374151"/>
                </a:solidFill>
              </a:rPr>
              <a:t>the successful adoption of GANs requires,</a:t>
            </a:r>
          </a:p>
          <a:p>
            <a:pPr lvl="1"/>
            <a:endParaRPr lang="en-US" sz="1100" b="1">
              <a:solidFill>
                <a:srgbClr val="374151"/>
              </a:solidFill>
            </a:endParaRPr>
          </a:p>
          <a:p>
            <a:pPr lvl="1"/>
            <a:r>
              <a:rPr lang="en-US" sz="1100" b="1">
                <a:solidFill>
                  <a:srgbClr val="374151"/>
                </a:solidFill>
              </a:rPr>
              <a:t>Significant computational resources </a:t>
            </a:r>
            <a:r>
              <a:rPr lang="en-US" sz="1100">
                <a:solidFill>
                  <a:srgbClr val="374151"/>
                </a:solidFill>
              </a:rPr>
              <a:t>to enable faster model training, as well as sufficient storage capacity to accommodate the large amounts of generated data.</a:t>
            </a:r>
          </a:p>
          <a:p>
            <a:pPr lvl="1"/>
            <a:r>
              <a:rPr lang="en-US" sz="1100" b="1">
                <a:solidFill>
                  <a:srgbClr val="374151"/>
                </a:solidFill>
              </a:rPr>
              <a:t>Lack of access to High-quality training data</a:t>
            </a:r>
            <a:r>
              <a:rPr lang="en-US" sz="1100">
                <a:solidFill>
                  <a:srgbClr val="374151"/>
                </a:solidFill>
              </a:rPr>
              <a:t> to develop models that inform business decisions is a significant challenge for organizations. Obtaining or creating such data can be challenging, especially in domains with limited data availability or data privacy concerns.</a:t>
            </a:r>
          </a:p>
          <a:p>
            <a:pPr lvl="1"/>
            <a:r>
              <a:rPr lang="en-US" sz="1100">
                <a:solidFill>
                  <a:srgbClr val="374151"/>
                </a:solidFill>
              </a:rPr>
              <a:t>Developing and fine-tuning GANs  consume time and require a</a:t>
            </a:r>
            <a:r>
              <a:rPr lang="en-US" sz="1100" b="1">
                <a:solidFill>
                  <a:srgbClr val="374151"/>
                </a:solidFill>
              </a:rPr>
              <a:t> Deep expertise </a:t>
            </a:r>
            <a:r>
              <a:rPr lang="en-US" sz="1100">
                <a:solidFill>
                  <a:srgbClr val="374151"/>
                </a:solidFill>
              </a:rPr>
              <a:t>of the underlying mathematical and statistical principles, as well as knowledge of the latest techniques and best practices.</a:t>
            </a:r>
          </a:p>
          <a:p>
            <a:pPr lvl="1"/>
            <a:r>
              <a:rPr lang="en-US" sz="1100">
                <a:solidFill>
                  <a:srgbClr val="374151"/>
                </a:solidFill>
              </a:rPr>
              <a:t>The training process can be time-consuming and computationally expensive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07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41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3858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82880" y="3063240"/>
            <a:ext cx="6347460" cy="6362700"/>
          </a:xfrm>
        </p:spPr>
        <p:txBody>
          <a:bodyPr>
            <a:noAutofit/>
          </a:bodyPr>
          <a:lstStyle/>
          <a:p>
            <a:pPr marL="9144" indent="0">
              <a:spcBef>
                <a:spcPts val="0"/>
              </a:spcBef>
              <a:buNone/>
            </a:pPr>
            <a:endParaRPr lang="en-GB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858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hyperlink" Target="https://hpe.kadanza.com/kadanza/photography/ppt-title-images/?sso=saml" TargetMode="Externa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hyperlink" Target="https://hpe.kadanza.com/kadanza/photography/ppt-title-images/?sso=saml" TargetMode="Externa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7.pn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Relationship Id="rId4" Type="http://schemas.openxmlformats.org/officeDocument/2006/relationships/hyperlink" Target="https://hpe.kadanza.com/kadanza/photography/ppt-title-images/?sso=saml" TargetMode="Externa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0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1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3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3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5" Type="http://schemas.openxmlformats.org/officeDocument/2006/relationships/hyperlink" Target="https://hpe.kadanza.com/kadanza/photography/ppt-title-images/?sso=saml" TargetMode="External"/><Relationship Id="rId4" Type="http://schemas.openxmlformats.org/officeDocument/2006/relationships/image" Target="../media/image2.png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3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HPE INTERNAL USE ONLY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119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84746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943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96227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r">
            <a:extLst>
              <a:ext uri="{FF2B5EF4-FFF2-40B4-BE49-F238E27FC236}">
                <a16:creationId xmlns:a16="http://schemas.microsoft.com/office/drawing/2014/main" id="{509F307F-2042-4E5D-9DD3-7346390C823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D93EC89-D007-42C7-92F3-5FAFA7AF243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58729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Heading 2"/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807963B9-3178-4B51-AFEC-FF40F8FF05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AE93C262-FA4B-43C3-AD92-4CEC861AD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14D7CD-D200-4A01-8CED-7A9B823997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9E1FA036-2D0C-4476-9395-CB088922F48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06089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09636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7960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77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7853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1481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7951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6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8457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33765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673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6735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5958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1911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1426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90552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5000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00167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36455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9426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79490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72486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84886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2061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47145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2981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060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tile tx="0" ty="0" sx="100000" sy="100000" flip="xy" algn="l"/>
                </a:blipFill>
                <a:latin typeface="+mj-lt"/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3083249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tile tx="0" ty="0" sx="100000" sy="100000" flip="xy" algn="l"/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40565394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864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428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840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C08C4C-0840-479A-B20C-52906AA29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C08C4C-0840-479A-B20C-52906AA29F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vert="horz"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21721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43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071CC6C4-2B01-F847-9174-41893E094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33142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D30D63-E075-B24E-85CC-88437C33AE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7" y="377292"/>
            <a:ext cx="1708584" cy="95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22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4FB70CB1-280F-5641-9F06-75FF0EFF53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33142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HPE INTERNAL USE ONLY</a:t>
            </a:r>
            <a:endParaRPr>
              <a:solidFill>
                <a:prstClr val="white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92E65B-C003-DE45-89B0-6400C252B9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7" y="377292"/>
            <a:ext cx="1708584" cy="95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62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id="{6BDA020B-A778-9246-8641-79044142A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20" name="Slide Number Placeholder">
            <a:extLst>
              <a:ext uri="{FF2B5EF4-FFF2-40B4-BE49-F238E27FC236}">
                <a16:creationId xmlns:a16="http://schemas.microsoft.com/office/drawing/2014/main" id="{160C3F10-10D7-0748-9B87-079394F0E416}"/>
              </a:ext>
            </a:extLst>
          </p:cNvPr>
          <p:cNvSpPr txBox="1">
            <a:spLocks/>
          </p:cNvSpPr>
          <p:nvPr userDrawn="1"/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205699" indent="-205699" algn="l" defTabSz="914400" rtl="0" eaLnBrk="1" latinLnBrk="0" hangingPunct="1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87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20FDC1AE-8810-4A4F-9121-562B04D42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30F49BB5-DB9D-5F40-BA09-8E4EFED7AB3E}"/>
              </a:ext>
            </a:extLst>
          </p:cNvPr>
          <p:cNvSpPr txBox="1">
            <a:spLocks/>
          </p:cNvSpPr>
          <p:nvPr userDrawn="1"/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205699" indent="-205699" algn="l" defTabSz="914400" rtl="0" eaLnBrk="1" latinLnBrk="0" hangingPunct="1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98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221839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2EBA5263-2352-A549-958C-E2458A8ED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56F7FCCB-E602-E146-8EEC-514AFB1DB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12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4FDFF5F-65C1-1A4E-9E24-8F7F1C4ECC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35078"/>
            <a:ext cx="12192000" cy="3302000"/>
          </a:xfrm>
          <a:prstGeom prst="rect">
            <a:avLst/>
          </a:prstGeom>
        </p:spPr>
      </p:pic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6EE4D327-0A24-D944-A194-7B6C99D80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4" name="Slide Number Placeholder">
            <a:extLst>
              <a:ext uri="{FF2B5EF4-FFF2-40B4-BE49-F238E27FC236}">
                <a16:creationId xmlns:a16="http://schemas.microsoft.com/office/drawing/2014/main" id="{1719B3D0-6825-B042-852C-DCEC7D3AFB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759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6E217223-0C93-1E42-95FE-28CE1928A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52150DBA-7966-C744-8F16-9B38C3B2B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64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A20ADD11-6EB5-264D-A17C-33A5120B0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88941FE8-B9EC-9848-9FF2-9A15DD9917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03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9594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E76A566C-3236-4041-9F25-953C91BC44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B7A365A5-3040-C245-8E80-7BCD47DFD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701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D533FA27-3982-2C46-B5CD-B9B917BF8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7BCCAB4B-76A7-7D48-B1D4-837ED735E9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507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0306E33A-6578-FB44-B9C2-7AB244F6E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76C83BE-9F77-6F46-99BD-77E1BB4B31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05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5097600"/>
          </a:xfrm>
          <a:noFill/>
        </p:spPr>
        <p:txBody>
          <a:bodyPr lIns="0" r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94653C2B-0F2B-8F4B-92C5-88F7EE58D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B6FF55D5-4F71-AB40-BDDA-0C0C5C3270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12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Footer Placeholder">
            <a:extLst>
              <a:ext uri="{FF2B5EF4-FFF2-40B4-BE49-F238E27FC236}">
                <a16:creationId xmlns:a16="http://schemas.microsoft.com/office/drawing/2014/main" id="{B3972960-5732-4546-A178-6DB73E0DC4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80051784-35C0-D046-9DDE-87182A0C0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58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6A2051D2-138C-5542-A907-FDCEB4937C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6" name="Slide Number Placeholder">
            <a:extLst>
              <a:ext uri="{FF2B5EF4-FFF2-40B4-BE49-F238E27FC236}">
                <a16:creationId xmlns:a16="http://schemas.microsoft.com/office/drawing/2014/main" id="{E96D95FC-C2AA-F043-8477-B6B1EF3F9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94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ED063DD2-5946-414E-B547-A4C0988C34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D3F2906E-9EA9-8946-90CA-A668CF2F4E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363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0B78CFE0-BAA1-3A4B-8B90-9A8828337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92EDB28B-AC0E-5E42-B65D-4071610F7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48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r">
            <a:extLst>
              <a:ext uri="{FF2B5EF4-FFF2-40B4-BE49-F238E27FC236}">
                <a16:creationId xmlns:a16="http://schemas.microsoft.com/office/drawing/2014/main" id="{509F307F-2042-4E5D-9DD3-7346390C823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D93EC89-D007-42C7-92F3-5FAFA7AF243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58729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6" name="Heading 2"/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807963B9-3178-4B51-AFEC-FF40F8FF05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4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AE93C262-FA4B-43C3-AD92-4CEC861AD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Footer Placeholder">
            <a:extLst>
              <a:ext uri="{FF2B5EF4-FFF2-40B4-BE49-F238E27FC236}">
                <a16:creationId xmlns:a16="http://schemas.microsoft.com/office/drawing/2014/main" id="{EC8B9E35-429E-5B42-A4D4-9D7552E27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id="{828FC766-920D-9745-9A38-775C411DEF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53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Footer Placeholder">
            <a:extLst>
              <a:ext uri="{FF2B5EF4-FFF2-40B4-BE49-F238E27FC236}">
                <a16:creationId xmlns:a16="http://schemas.microsoft.com/office/drawing/2014/main" id="{DBB8789E-D47D-7748-B68F-F0D84DD70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6" name="Slide Number Placeholder">
            <a:extLst>
              <a:ext uri="{FF2B5EF4-FFF2-40B4-BE49-F238E27FC236}">
                <a16:creationId xmlns:a16="http://schemas.microsoft.com/office/drawing/2014/main" id="{B3BD152F-434F-1A4B-9653-2128AE1DE7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468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4746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CB82A4DD-B02A-8A43-80C0-424865242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4" name="Slide Number Placeholder">
            <a:extLst>
              <a:ext uri="{FF2B5EF4-FFF2-40B4-BE49-F238E27FC236}">
                <a16:creationId xmlns:a16="http://schemas.microsoft.com/office/drawing/2014/main" id="{8C8B0CD1-E24B-F440-9B03-B0DE2EAC2D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767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55B88E28-9C63-354B-AC34-01441A792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FC0DDA05-66BC-0847-875E-5423993B35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47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F5A7DD3-6275-6349-9AA0-AFE110307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7" name="Slide Number Placeholder">
            <a:extLst>
              <a:ext uri="{FF2B5EF4-FFF2-40B4-BE49-F238E27FC236}">
                <a16:creationId xmlns:a16="http://schemas.microsoft.com/office/drawing/2014/main" id="{36F079E6-BA58-AA4C-841E-40F2F3B286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3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2" name="Footer Placeholder">
            <a:extLst>
              <a:ext uri="{FF2B5EF4-FFF2-40B4-BE49-F238E27FC236}">
                <a16:creationId xmlns:a16="http://schemas.microsoft.com/office/drawing/2014/main" id="{830B95DB-251C-4D41-934C-993DA1465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23" name="Slide Number Placeholder">
            <a:extLst>
              <a:ext uri="{FF2B5EF4-FFF2-40B4-BE49-F238E27FC236}">
                <a16:creationId xmlns:a16="http://schemas.microsoft.com/office/drawing/2014/main" id="{317CFDA9-FBDC-2C43-ACF3-924439E6F5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54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t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eading 1">
            <a:extLst>
              <a:ext uri="{FF2B5EF4-FFF2-40B4-BE49-F238E27FC236}">
                <a16:creationId xmlns:a16="http://schemas.microsoft.com/office/drawing/2014/main" id="{A77160EA-C085-8145-82D9-74547C2193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855" y="1365165"/>
            <a:ext cx="3653955" cy="654963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Hot Topic 1</a:t>
            </a:r>
          </a:p>
          <a:p>
            <a:pPr lvl="0"/>
            <a:endParaRPr lang="en-US"/>
          </a:p>
        </p:txBody>
      </p:sp>
      <p:sp>
        <p:nvSpPr>
          <p:cNvPr id="11" name="Bar">
            <a:extLst>
              <a:ext uri="{FF2B5EF4-FFF2-40B4-BE49-F238E27FC236}">
                <a16:creationId xmlns:a16="http://schemas.microsoft.com/office/drawing/2014/main" id="{3E52A854-7F6C-B040-B86D-F9670952B8C8}"/>
              </a:ext>
            </a:extLst>
          </p:cNvPr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F5519B37-C277-A643-A488-E7C7EED4C7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353D9615-BB73-FF4F-BB47-6677713C9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Footer Placeholder">
            <a:extLst>
              <a:ext uri="{FF2B5EF4-FFF2-40B4-BE49-F238E27FC236}">
                <a16:creationId xmlns:a16="http://schemas.microsoft.com/office/drawing/2014/main" id="{67A40E10-E3DB-0F44-A5C1-9479AF5AE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3A20A7B8-C3B3-704B-8E09-3CA810658E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FD304172-84D7-C843-8C0A-CF5264EDC8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855" y="2020128"/>
            <a:ext cx="3653955" cy="133955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DCB02DE-837C-914B-8D8B-0627882E080A}"/>
              </a:ext>
            </a:extLst>
          </p:cNvPr>
          <p:cNvSpPr/>
          <p:nvPr userDrawn="1"/>
        </p:nvSpPr>
        <p:spPr bwMode="ltGray">
          <a:xfrm>
            <a:off x="359855" y="1348521"/>
            <a:ext cx="3653955" cy="2152559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solidFill>
                <a:prstClr val="white"/>
              </a:solidFill>
            </a:endParaRPr>
          </a:p>
        </p:txBody>
      </p:sp>
      <p:sp>
        <p:nvSpPr>
          <p:cNvPr id="24" name="Heading 1">
            <a:extLst>
              <a:ext uri="{FF2B5EF4-FFF2-40B4-BE49-F238E27FC236}">
                <a16:creationId xmlns:a16="http://schemas.microsoft.com/office/drawing/2014/main" id="{81676225-F4D9-3643-860C-9E64DD4B62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1785" y="3774628"/>
            <a:ext cx="3653955" cy="654963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Hot Topic 4</a:t>
            </a:r>
          </a:p>
          <a:p>
            <a:pPr lvl="0"/>
            <a:endParaRPr lang="en-US"/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36A6ADA4-A85D-0A4E-B201-E509A5E79E4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1785" y="4429591"/>
            <a:ext cx="3653955" cy="133955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D963F3B-3CD7-7B46-99C5-878DD519EDB2}"/>
              </a:ext>
            </a:extLst>
          </p:cNvPr>
          <p:cNvSpPr/>
          <p:nvPr userDrawn="1"/>
        </p:nvSpPr>
        <p:spPr bwMode="ltGray">
          <a:xfrm>
            <a:off x="361785" y="3757984"/>
            <a:ext cx="3653955" cy="2152559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solidFill>
                <a:prstClr val="white"/>
              </a:solidFill>
            </a:endParaRPr>
          </a:p>
        </p:txBody>
      </p:sp>
      <p:sp>
        <p:nvSpPr>
          <p:cNvPr id="27" name="Heading 1">
            <a:extLst>
              <a:ext uri="{FF2B5EF4-FFF2-40B4-BE49-F238E27FC236}">
                <a16:creationId xmlns:a16="http://schemas.microsoft.com/office/drawing/2014/main" id="{3EA5EF95-72F7-F445-B229-278175EAA8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50093" y="1362604"/>
            <a:ext cx="3653955" cy="654963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Hot Topic 2</a:t>
            </a:r>
          </a:p>
          <a:p>
            <a:pPr lvl="0"/>
            <a:endParaRPr lang="en-US"/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99AC0339-8CC0-C440-AC67-9F947C7B7E9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50093" y="2017567"/>
            <a:ext cx="3653955" cy="133955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CE5B064-026D-6B4B-A4F1-4BE0BAB94A9F}"/>
              </a:ext>
            </a:extLst>
          </p:cNvPr>
          <p:cNvSpPr/>
          <p:nvPr userDrawn="1"/>
        </p:nvSpPr>
        <p:spPr bwMode="ltGray">
          <a:xfrm>
            <a:off x="4250093" y="1345960"/>
            <a:ext cx="3653955" cy="2152559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solidFill>
                <a:prstClr val="white"/>
              </a:solidFill>
            </a:endParaRPr>
          </a:p>
        </p:txBody>
      </p:sp>
      <p:sp>
        <p:nvSpPr>
          <p:cNvPr id="30" name="Heading 1">
            <a:extLst>
              <a:ext uri="{FF2B5EF4-FFF2-40B4-BE49-F238E27FC236}">
                <a16:creationId xmlns:a16="http://schemas.microsoft.com/office/drawing/2014/main" id="{88310624-B90F-BF44-B608-FCC9383C42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52023" y="3772067"/>
            <a:ext cx="3653955" cy="654963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Hot Topic 5</a:t>
            </a:r>
          </a:p>
          <a:p>
            <a:pPr lvl="0"/>
            <a:endParaRPr lang="en-US"/>
          </a:p>
        </p:txBody>
      </p:sp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AC1442FF-DD9C-AD44-BC6D-0F71BD134CD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52023" y="4427030"/>
            <a:ext cx="3653955" cy="133955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EB26FEF-5E64-AB46-8BF1-769C7AC81E67}"/>
              </a:ext>
            </a:extLst>
          </p:cNvPr>
          <p:cNvSpPr/>
          <p:nvPr userDrawn="1"/>
        </p:nvSpPr>
        <p:spPr bwMode="ltGray">
          <a:xfrm>
            <a:off x="4252023" y="3755423"/>
            <a:ext cx="3653955" cy="2152559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solidFill>
                <a:prstClr val="white"/>
              </a:solidFill>
            </a:endParaRPr>
          </a:p>
        </p:txBody>
      </p:sp>
      <p:sp>
        <p:nvSpPr>
          <p:cNvPr id="33" name="Heading 1">
            <a:extLst>
              <a:ext uri="{FF2B5EF4-FFF2-40B4-BE49-F238E27FC236}">
                <a16:creationId xmlns:a16="http://schemas.microsoft.com/office/drawing/2014/main" id="{A5FE6C30-CCED-C646-9517-4466EE1FCE8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40331" y="1362604"/>
            <a:ext cx="3653955" cy="654963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Hot Topic 3</a:t>
            </a:r>
          </a:p>
          <a:p>
            <a:pPr lvl="0"/>
            <a:endParaRPr lang="en-US"/>
          </a:p>
        </p:txBody>
      </p:sp>
      <p:sp>
        <p:nvSpPr>
          <p:cNvPr id="34" name="Text Placeholder 1">
            <a:extLst>
              <a:ext uri="{FF2B5EF4-FFF2-40B4-BE49-F238E27FC236}">
                <a16:creationId xmlns:a16="http://schemas.microsoft.com/office/drawing/2014/main" id="{549BF76F-7189-4545-9029-63A7255C786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40331" y="2017567"/>
            <a:ext cx="3653955" cy="133955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1AD7AFA-895E-4749-BF67-35339567C80E}"/>
              </a:ext>
            </a:extLst>
          </p:cNvPr>
          <p:cNvSpPr/>
          <p:nvPr userDrawn="1"/>
        </p:nvSpPr>
        <p:spPr bwMode="ltGray">
          <a:xfrm>
            <a:off x="8140331" y="1345960"/>
            <a:ext cx="3653955" cy="2152559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solidFill>
                <a:prstClr val="white"/>
              </a:solidFill>
            </a:endParaRPr>
          </a:p>
        </p:txBody>
      </p:sp>
      <p:sp>
        <p:nvSpPr>
          <p:cNvPr id="36" name="Heading 1">
            <a:extLst>
              <a:ext uri="{FF2B5EF4-FFF2-40B4-BE49-F238E27FC236}">
                <a16:creationId xmlns:a16="http://schemas.microsoft.com/office/drawing/2014/main" id="{B9346F7B-CA04-5747-ABD8-FAA52DF1325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42261" y="3772067"/>
            <a:ext cx="3653955" cy="654963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Hot Topic 6</a:t>
            </a:r>
          </a:p>
          <a:p>
            <a:pPr lvl="0"/>
            <a:endParaRPr lang="en-US"/>
          </a:p>
        </p:txBody>
      </p: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52B55A0A-6E1B-CF46-83A6-C11B32B19C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42261" y="4427030"/>
            <a:ext cx="3653955" cy="133955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A8BFA9E-3C65-084E-9409-FDCCF0FB632F}"/>
              </a:ext>
            </a:extLst>
          </p:cNvPr>
          <p:cNvSpPr/>
          <p:nvPr userDrawn="1"/>
        </p:nvSpPr>
        <p:spPr bwMode="ltGray">
          <a:xfrm>
            <a:off x="8142261" y="3755423"/>
            <a:ext cx="3653955" cy="2152559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080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id="{AE935266-3B5E-E743-86D5-F590A7648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21" name="Slide Number Placeholder">
            <a:extLst>
              <a:ext uri="{FF2B5EF4-FFF2-40B4-BE49-F238E27FC236}">
                <a16:creationId xmlns:a16="http://schemas.microsoft.com/office/drawing/2014/main" id="{28F9C49E-E2E1-9B4B-9920-AB51FCDC9B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54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7C343C78-F8A2-8F40-A683-0BF67E04A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37FB469E-CCDA-204F-A5D3-60DF57E6C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46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33765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979BA19B-9AAB-EF43-AE8E-AFDE75ED67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C16F6633-1AE7-694C-8F2D-11382C9CFF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608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87D8CBED-BB3E-6146-BF1D-BC593E1B3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352750C9-3CD3-2948-ADAF-C24211AC24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40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10" name="Footer Placeholder">
            <a:extLst>
              <a:ext uri="{FF2B5EF4-FFF2-40B4-BE49-F238E27FC236}">
                <a16:creationId xmlns:a16="http://schemas.microsoft.com/office/drawing/2014/main" id="{96961A75-569A-9A45-B102-53C84F4032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39F21AF8-9D73-A541-876E-EE945027C3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98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7378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241D0AC6-33A2-3A40-B561-3279DF130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3DFEA54F-2710-2E43-A425-025BDBEE65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559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D4688CA-6765-FC48-887A-6A2350C27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6" name="Slide Number Placeholder">
            <a:extLst>
              <a:ext uri="{FF2B5EF4-FFF2-40B4-BE49-F238E27FC236}">
                <a16:creationId xmlns:a16="http://schemas.microsoft.com/office/drawing/2014/main" id="{C33D1A18-D9F6-4F46-AD2E-F599E3FFDA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45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4C7A3517-CB6B-7948-8CDD-FE57487D3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4" name="Slide Number Placeholder">
            <a:extLst>
              <a:ext uri="{FF2B5EF4-FFF2-40B4-BE49-F238E27FC236}">
                <a16:creationId xmlns:a16="http://schemas.microsoft.com/office/drawing/2014/main" id="{EDA0F38B-D1A1-534C-A815-7F9418766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61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F3051B63-840D-C044-865E-87452947C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4" name="Slide Number Placeholder">
            <a:extLst>
              <a:ext uri="{FF2B5EF4-FFF2-40B4-BE49-F238E27FC236}">
                <a16:creationId xmlns:a16="http://schemas.microsoft.com/office/drawing/2014/main" id="{A48CF027-E069-8046-9813-3EDB00FE4E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8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07544D90-A5B4-4D4E-AC30-D43A040A9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4" name="Slide Number Placeholder">
            <a:extLst>
              <a:ext uri="{FF2B5EF4-FFF2-40B4-BE49-F238E27FC236}">
                <a16:creationId xmlns:a16="http://schemas.microsoft.com/office/drawing/2014/main" id="{F78E0F93-3E51-924A-AAB2-221FAAF79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04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CBC82F2D-6ACA-0B4D-BD2E-68CCEFABA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7696012C-7ABD-E543-8304-A44A65B914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2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6D946CAF-BF25-5E48-AD3B-B6BC1C80A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04EE7E7F-583D-6445-89E5-93C0100CAE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27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16F8BBEC-344B-E74D-8586-8AB8FFAE6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4" name="Slide Number Placeholder">
            <a:extLst>
              <a:ext uri="{FF2B5EF4-FFF2-40B4-BE49-F238E27FC236}">
                <a16:creationId xmlns:a16="http://schemas.microsoft.com/office/drawing/2014/main" id="{CD82362E-F071-C448-A62A-F3024A4BD9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01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93E16011-0EB5-C348-8A58-AA3146CE7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9" name="Slide Number Placeholder">
            <a:extLst>
              <a:ext uri="{FF2B5EF4-FFF2-40B4-BE49-F238E27FC236}">
                <a16:creationId xmlns:a16="http://schemas.microsoft.com/office/drawing/2014/main" id="{7D0C638F-7676-A042-8E50-9F3E5FD862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39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6610B45A-5738-7949-AEE9-9C989AB430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7" name="Slide Number Placeholder">
            <a:extLst>
              <a:ext uri="{FF2B5EF4-FFF2-40B4-BE49-F238E27FC236}">
                <a16:creationId xmlns:a16="http://schemas.microsoft.com/office/drawing/2014/main" id="{8FBD2112-DAC8-8447-943A-7505FD3251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54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2528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Footer Placeholder">
            <a:extLst>
              <a:ext uri="{FF2B5EF4-FFF2-40B4-BE49-F238E27FC236}">
                <a16:creationId xmlns:a16="http://schemas.microsoft.com/office/drawing/2014/main" id="{7D336BBE-A0F2-CB4D-9F50-DFFD1722B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24" name="Slide Number Placeholder">
            <a:extLst>
              <a:ext uri="{FF2B5EF4-FFF2-40B4-BE49-F238E27FC236}">
                <a16:creationId xmlns:a16="http://schemas.microsoft.com/office/drawing/2014/main" id="{348A91D1-10C5-9444-A25F-881AE3919F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38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2" name="Footer Placeholder">
            <a:extLst>
              <a:ext uri="{FF2B5EF4-FFF2-40B4-BE49-F238E27FC236}">
                <a16:creationId xmlns:a16="http://schemas.microsoft.com/office/drawing/2014/main" id="{6F451782-F8CA-E441-BABA-593D85CE0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23" name="Slide Number Placeholder">
            <a:extLst>
              <a:ext uri="{FF2B5EF4-FFF2-40B4-BE49-F238E27FC236}">
                <a16:creationId xmlns:a16="http://schemas.microsoft.com/office/drawing/2014/main" id="{8BC5E824-3D6D-E84B-9051-7BEF220B9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00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D8FA46F4-CA6D-444F-AC9E-20ADF4637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5F86EB2C-0522-1F4B-8A09-76B898BE7C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693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  <a:latin typeface="+mj-lt"/>
              </a:defRPr>
            </a:lvl1pPr>
          </a:lstStyle>
          <a:p>
            <a:r>
              <a:rPr lang="en-US"/>
              <a:t>Single line</a:t>
            </a:r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93A8DDC5-D91A-724D-8006-3AB9574E2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F8B5DDC3-D73D-7A4C-8B42-0453C2C7A0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"/>
              </a:buBlip>
              <a:defRPr sz="2000" kern="1200" cap="all" normalizeH="0" baseline="10000">
                <a:solidFill>
                  <a:schemeClr val="tx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639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3310746E-C458-6346-A104-6DB8A333E9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98785E75-A10B-A043-A707-F8B031FFF0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"/>
              </a:buBlip>
              <a:defRPr sz="2000" kern="1200" cap="all" normalizeH="0" baseline="10000">
                <a:solidFill>
                  <a:schemeClr val="tx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192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33226-781C-A54F-BB3B-EEFC30DC0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6C7A9BD3-5294-154B-9D51-88731536E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09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F9226D09-C368-CE42-B049-91EA03CB4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29839" y="6129337"/>
            <a:ext cx="7481160" cy="411581"/>
          </a:xfrm>
        </p:spPr>
        <p:txBody>
          <a:bodyPr/>
          <a:lstStyle>
            <a:lvl1pPr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20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Column 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3118711"/>
            <a:ext cx="3638076" cy="427036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661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B6D0AA1E-1C1C-4F40-AE60-60283D46F5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088056" y="6239216"/>
            <a:ext cx="4114800" cy="220717"/>
          </a:xfrm>
          <a:prstGeom prst="rect">
            <a:avLst/>
          </a:prstGeom>
        </p:spPr>
        <p:txBody>
          <a:bodyPr/>
          <a:lstStyle/>
          <a:p>
            <a:pPr marL="91440">
              <a:lnSpc>
                <a:spcPct val="100000"/>
              </a:lnSpc>
            </a:pPr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83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786D80AE-4C68-4765-BA2F-959AA35D72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088056" y="6239216"/>
            <a:ext cx="4114800" cy="220717"/>
          </a:xfrm>
          <a:prstGeom prst="rect">
            <a:avLst/>
          </a:prstGeom>
        </p:spPr>
        <p:txBody>
          <a:bodyPr/>
          <a:lstStyle/>
          <a:p>
            <a:pPr marL="91440">
              <a:lnSpc>
                <a:spcPct val="100000"/>
              </a:lnSpc>
            </a:pPr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57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r">
            <a:extLst>
              <a:ext uri="{FF2B5EF4-FFF2-40B4-BE49-F238E27FC236}">
                <a16:creationId xmlns:a16="http://schemas.microsoft.com/office/drawing/2014/main" id="{509F307F-2042-4E5D-9DD3-7346390C823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D93EC89-D007-42C7-92F3-5FAFA7AF243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58729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Heading 2"/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807963B9-3178-4B51-AFEC-FF40F8FF05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AE93C262-FA4B-43C3-AD92-4CEC861AD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14D7CD-D200-4A01-8CED-7A9B823997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9E1FA036-2D0C-4476-9395-CB088922F48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49487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5E900-B8A4-4B0A-8F67-84B06FBC0645}" type="slidenum">
              <a:rPr lang="en-GB" smtClean="0">
                <a:solidFill>
                  <a:srgbClr val="787871"/>
                </a:solidFill>
              </a:rPr>
              <a:pPr/>
              <a:t>‹#›</a:t>
            </a:fld>
            <a:endParaRPr lang="en-GB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27365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67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82481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B1C4460-9D51-48F8-87F8-88E0DE4E454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19415EC-B287-40A3-A91D-E9356CAD1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9B5C71F-50B9-4243-83A7-A7AFAEFD58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685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00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To change your section image, go to [View] -&gt; [Slide Master] 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A collection of images specifically formatted for use as PPT title slides can be found </a:t>
            </a:r>
            <a:r>
              <a:rPr lang="en-US" sz="1500">
                <a:solidFill>
                  <a:prstClr val="black"/>
                </a:solidFill>
                <a:hlinkClick r:id="rId4"/>
              </a:rPr>
              <a:t>here</a:t>
            </a:r>
            <a:r>
              <a:rPr lang="en-US" sz="1500">
                <a:solidFill>
                  <a:prstClr val="black"/>
                </a:solidFill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05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56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799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548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1962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86132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64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73062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300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016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903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7115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266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90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36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809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schemeClr val="bg1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HPE INTERNAL USE ONLY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742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47728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641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4711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691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6546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148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592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233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328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194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58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567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03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84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64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45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26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76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08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629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091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266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2148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black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E28BBF5B-08AD-4A77-9AEC-6683501C3E9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33466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8129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74508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37539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7710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56360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8205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333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6438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8654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5106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275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1356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4923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1765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2880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r">
            <a:extLst>
              <a:ext uri="{FF2B5EF4-FFF2-40B4-BE49-F238E27FC236}">
                <a16:creationId xmlns:a16="http://schemas.microsoft.com/office/drawing/2014/main" id="{509F307F-2042-4E5D-9DD3-7346390C823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D93EC89-D007-42C7-92F3-5FAFA7AF243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58729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Heading 2"/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807963B9-3178-4B51-AFEC-FF40F8FF05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AE93C262-FA4B-43C3-AD92-4CEC861AD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14D7CD-D200-4A01-8CED-7A9B823997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9E1FA036-2D0C-4476-9395-CB088922F48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81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511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4670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72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3891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06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37983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01402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89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33765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0287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1848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7460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1365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34423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7163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5981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129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05724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8845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3612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63815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7593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5286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6774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0593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7030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tile tx="0" ty="0" sx="100000" sy="100000" flip="xy" algn="l"/>
                </a:blipFill>
                <a:latin typeface="+mj-lt"/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1190615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33765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0285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tile tx="0" ty="0" sx="100000" sy="100000" flip="xy" algn="l"/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14997685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890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587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088034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bg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285743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prstClr val="white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white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white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white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285743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prstClr val="white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white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white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white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753882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prstClr val="white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white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white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white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753883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prstClr val="white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white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white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white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403F5446-4250-45EA-9C49-CC372FEF99B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03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5549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576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1439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1DE7DF4-80FB-44F1-84C8-232D48CE01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C116200C-623E-4E13-B86C-8357D65B6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856AED84-0D83-4550-A8C7-8CF1C4D3E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944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44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4930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To change your section image, go to [View] -&gt; [Slide Master] 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A collection of images specifically formatted for use as PPT title slides can be found </a:t>
            </a:r>
            <a:r>
              <a:rPr lang="en-US" sz="1500">
                <a:solidFill>
                  <a:prstClr val="black"/>
                </a:solidFill>
                <a:hlinkClick r:id="rId4"/>
              </a:rPr>
              <a:t>here</a:t>
            </a:r>
            <a:r>
              <a:rPr lang="en-US" sz="1500">
                <a:solidFill>
                  <a:prstClr val="black"/>
                </a:solidFill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050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25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300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203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714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89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429688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613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9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42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2777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26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8DAFB92-6D9C-49E1-BD2D-1E7A63FFDC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36" y="1427603"/>
            <a:ext cx="4275105" cy="54224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5E5DBFC-AB00-4D32-980D-E47806AE3F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9891" y="1440621"/>
            <a:ext cx="4082109" cy="54094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1FC4093-BD75-4FCC-AF81-8537B9467D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>
          <a:xfrm>
            <a:off x="4023361" y="1449980"/>
            <a:ext cx="4079260" cy="538754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E938B5F-74CC-4A06-98CA-15A12B36C10B}"/>
              </a:ext>
            </a:extLst>
          </p:cNvPr>
          <p:cNvSpPr/>
          <p:nvPr userDrawn="1"/>
        </p:nvSpPr>
        <p:spPr bwMode="ltGray">
          <a:xfrm>
            <a:off x="-19050" y="1427603"/>
            <a:ext cx="12229270" cy="5409925"/>
          </a:xfrm>
          <a:prstGeom prst="rect">
            <a:avLst/>
          </a:prstGeom>
          <a:solidFill>
            <a:schemeClr val="tx1">
              <a:alpha val="42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97946F-4EBB-4F14-916F-879C7AB87CE9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>
                <a:solidFill>
                  <a:srgbClr val="000000"/>
                </a:solidFill>
              </a:rPr>
              <a:t> 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AE04EF-D3A3-4A66-9A7C-BB60726C3771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>
                <a:solidFill>
                  <a:srgbClr val="000000"/>
                </a:solidFill>
              </a:rPr>
              <a:t> 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CA580E-0C18-453A-9CF8-8A9F43DD0643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>
                <a:solidFill>
                  <a:srgbClr val="000000"/>
                </a:solidFill>
              </a:rPr>
              <a:t> 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22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782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91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231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627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760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3120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6152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75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7813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932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391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141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89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60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488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56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78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PE_AEM_Q1-2020_Blank_Title_Logo-n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3448" y="445956"/>
            <a:ext cx="11421304" cy="427036"/>
          </a:xfrm>
        </p:spPr>
        <p:txBody>
          <a:bodyPr anchor="ctr" anchorCtr="0"/>
          <a:lstStyle>
            <a:lvl1pPr algn="ctr">
              <a:defRPr sz="3200" b="1">
                <a:latin typeface="MetricHPE" panose="020B0503030202060203" pitchFamily="2" charset="0"/>
              </a:defRPr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6BDFE3CB-E5F3-4430-9AB8-BB1C8B67C4B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C0CC-CAF6-4962-8D9E-0E582A1877B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23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schemeClr val="tx1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E28BBF5B-08AD-4A77-9AEC-6683501C3E9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7139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14915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Image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0998" y="704332"/>
            <a:ext cx="11430002" cy="38100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391852"/>
            <a:ext cx="11430001" cy="31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09B478-C8C3-754C-B073-82AB56FD420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148" y="6246014"/>
            <a:ext cx="9398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66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7368690-D07E-4AAC-9938-C62119C7F5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96200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99943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56582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26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To change your section image, go to [View] -&gt; [Slide Master] 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A collection of images specifically formatted for use as PPT title slides can be found </a:t>
            </a:r>
            <a:r>
              <a:rPr lang="en-US" sz="1500">
                <a:solidFill>
                  <a:prstClr val="black"/>
                </a:solidFill>
                <a:hlinkClick r:id="rId4"/>
              </a:rPr>
              <a:t>here</a:t>
            </a:r>
            <a:r>
              <a:rPr lang="en-US" sz="1500">
                <a:solidFill>
                  <a:prstClr val="black"/>
                </a:solidFill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solidFill>
                  <a:prstClr val="black"/>
                </a:solidFill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16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569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314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097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94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48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9670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272927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867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494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889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2541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58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21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2700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645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274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83046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642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5907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7282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801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0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51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880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825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D374980-43FB-4F2F-815F-E37EF8D40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6CF913-BC81-41C3-BA99-2A7496FC9626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11E0A2F-F855-47DE-9EAB-46972DBF03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36EF668-C890-4676-97F6-A91920F515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000E44DD-2F8E-4EFC-9945-1E017263074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696199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006992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373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7109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33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89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21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30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62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81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928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763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7368690-D07E-4AAC-9938-C62119C7F5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96200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9825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7970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5480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24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348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46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54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684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6953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03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236525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309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335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5450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968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612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4890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237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311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5902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628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745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91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950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604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376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582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976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211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674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D374980-43FB-4F2F-815F-E37EF8D40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6CF913-BC81-41C3-BA99-2A7496FC9626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11E0A2F-F855-47DE-9EAB-46972DBF03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36EF668-C890-4676-97F6-A91920F515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000E44DD-2F8E-4EFC-9945-1E017263074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696199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9330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91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61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38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70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774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20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77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684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52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978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 lang="en-GB">
              <a:solidFill>
                <a:srgbClr val="78787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5E900-B8A4-4B0A-8F67-84B06FBC0645}" type="slidenum">
              <a:rPr lang="en-GB" smtClean="0">
                <a:solidFill>
                  <a:srgbClr val="787871"/>
                </a:solidFill>
              </a:rPr>
              <a:pPr/>
              <a:t>‹#›</a:t>
            </a:fld>
            <a:endParaRPr lang="en-GB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95592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297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708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black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E28BBF5B-08AD-4A77-9AEC-6683501C3E9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328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40578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902957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4950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2453740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386A63C7-4240-49C3-9733-7B4123E51C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" y="5058"/>
            <a:ext cx="12185650" cy="6852942"/>
          </a:xfrm>
          <a:prstGeom prst="rect">
            <a:avLst/>
          </a:prstGeom>
        </p:spPr>
      </p:pic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8" name="Element">
            <a:extLst>
              <a:ext uri="{FF2B5EF4-FFF2-40B4-BE49-F238E27FC236}">
                <a16:creationId xmlns:a16="http://schemas.microsoft.com/office/drawing/2014/main" id="{0FE94D5F-B1ED-408E-8510-F511E1CAF6F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025635-109A-4028-8274-04F1463148D7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08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8774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97227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512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85132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91240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422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1072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0518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38056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1629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2662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r">
            <a:extLst>
              <a:ext uri="{FF2B5EF4-FFF2-40B4-BE49-F238E27FC236}">
                <a16:creationId xmlns:a16="http://schemas.microsoft.com/office/drawing/2014/main" id="{509F307F-2042-4E5D-9DD3-7346390C823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D93EC89-D007-42C7-92F3-5FAFA7AF243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58729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Heading 2"/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807963B9-3178-4B51-AFEC-FF40F8FF05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AE93C262-FA4B-43C3-AD92-4CEC861AD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14D7CD-D200-4A01-8CED-7A9B823997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9E1FA036-2D0C-4476-9395-CB088922F48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23311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822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5060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09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0242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2693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9867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1592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17243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6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33765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90706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9572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9055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8499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9669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7836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67025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5820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6997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48942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48094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5070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1044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496656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3408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284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6815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tile tx="0" ty="0" sx="100000" sy="100000" flip="xy" algn="l"/>
                </a:blipFill>
                <a:latin typeface="+mj-lt"/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26314500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tile tx="0" ty="0" sx="100000" sy="100000" flip="xy" algn="l"/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29250387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0696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tile tx="0" ty="0" sx="100000" sy="100000" flip="xy" algn="l"/>
                </a:blipFill>
                <a:latin typeface="+mj-lt"/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3007201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5331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C08C4C-0840-479A-B20C-52906AA29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C08C4C-0840-479A-B20C-52906AA29F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vert="horz"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97333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9227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469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046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546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9703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57167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398153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6534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tile tx="0" ty="0" sx="100000" sy="100000" flip="xy" algn="l"/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4075037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6883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95456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21435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41742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2654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5609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0680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9744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52454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83776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26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511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407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1874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9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1838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3189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25061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25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2546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2550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7057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2146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2430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2319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4738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299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693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5396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60882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0821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0493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C08C4C-0840-479A-B20C-52906AA29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89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C08C4C-0840-479A-B20C-52906AA29F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vert="horz"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45095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3913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9121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5535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1714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1754744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2804376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379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086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3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30064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91348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7368690-D07E-4AAC-9938-C62119C7F5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96200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5304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90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16362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HPE Confidential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95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4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" panose="020B0503030202060203" pitchFamily="34" charset="-18"/>
              <a:ea typeface="+mn-ea"/>
              <a:cs typeface="+mn-cs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Confidential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Black" panose="020B0A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7A3D8C4-3D74-ADFF-6AE4-9E9442AA6611}"/>
              </a:ext>
            </a:extLst>
          </p:cNvPr>
          <p:cNvSpPr/>
          <p:nvPr userDrawn="1"/>
        </p:nvSpPr>
        <p:spPr>
          <a:xfrm>
            <a:off x="6825262" y="558127"/>
            <a:ext cx="50306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HPE Tech Con 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272309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HPE Confidential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8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67C27F-7001-D466-564F-8A18E2F3555C}"/>
              </a:ext>
            </a:extLst>
          </p:cNvPr>
          <p:cNvSpPr txBox="1"/>
          <p:nvPr userDrawn="1"/>
        </p:nvSpPr>
        <p:spPr>
          <a:xfrm>
            <a:off x="1482893" y="6241110"/>
            <a:ext cx="2077452" cy="29857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600" b="1"/>
              <a:t>HPE Tech Con </a:t>
            </a:r>
            <a:r>
              <a:rPr lang="en-US" sz="1600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405840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7847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colored pencils">
            <a:extLst>
              <a:ext uri="{FF2B5EF4-FFF2-40B4-BE49-F238E27FC236}">
                <a16:creationId xmlns:a16="http://schemas.microsoft.com/office/drawing/2014/main" id="{DA7F265B-0B86-7A44-F2B7-DFF00D095B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981200"/>
            <a:ext cx="12192001" cy="2743200"/>
          </a:xfrm>
          <a:prstGeom prst="rect">
            <a:avLst/>
          </a:prstGeom>
        </p:spPr>
      </p:pic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2" name="Element">
            <a:extLst>
              <a:ext uri="{FF2B5EF4-FFF2-40B4-BE49-F238E27FC236}">
                <a16:creationId xmlns:a16="http://schemas.microsoft.com/office/drawing/2014/main" id="{548D42CB-3429-2CE3-09A3-38B9A0EA29A8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2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8951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1715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2919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51666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2019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23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Confidential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591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06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5706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651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518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608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15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254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263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365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3872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2456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8046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5554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4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4"/>
                </a:buBlip>
              </a:pPr>
              <a:t>‹#›</a:t>
            </a:fld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To change your section image, go to [View] -&gt; [Slide Master] 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A collection of images specifically formatted for use as PPT title slides can be found </a:t>
            </a:r>
            <a:r>
              <a:rPr lang="en-US" sz="1500">
                <a:latin typeface="MetricHPE" panose="020B0503030202060203" pitchFamily="34" charset="0"/>
                <a:hlinkClick r:id="rId5"/>
              </a:rPr>
              <a:t>here</a:t>
            </a:r>
            <a:r>
              <a:rPr lang="en-US" sz="1500">
                <a:latin typeface="MetricHPE" panose="020B05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>
                <a:latin typeface="MetricHPE" panose="020B0503030202060203" pitchFamily="34" charset="0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>
              <a:solidFill>
                <a:schemeClr val="bg1"/>
              </a:solidFill>
              <a:latin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4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3794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56381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35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8229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714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3233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8349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018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15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5926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39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4183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9170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344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p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989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814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HPE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3</a:t>
            </a:fld>
            <a:r>
              <a:rPr lang="en-US" sz="120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7456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99548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42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44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315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755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93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154783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5374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0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109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62333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3683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2898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90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52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618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352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62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857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024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74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386A63C7-4240-49C3-9733-7B4123E51C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5058"/>
            <a:ext cx="12185650" cy="6852942"/>
          </a:xfrm>
          <a:prstGeom prst="rect">
            <a:avLst/>
          </a:prstGeom>
        </p:spPr>
      </p:pic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  <p:sp>
        <p:nvSpPr>
          <p:cNvPr id="8" name="Element">
            <a:extLst>
              <a:ext uri="{FF2B5EF4-FFF2-40B4-BE49-F238E27FC236}">
                <a16:creationId xmlns:a16="http://schemas.microsoft.com/office/drawing/2014/main" id="{0FE94D5F-B1ED-408E-8510-F511E1CAF6F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025635-109A-4028-8274-04F1463148D7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20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954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442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92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44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D374980-43FB-4F2F-815F-E37EF8D40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6CF913-BC81-41C3-BA99-2A7496FC9626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11E0A2F-F855-47DE-9EAB-46972DBF03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36EF668-C890-4676-97F6-A91920F515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000E44DD-2F8E-4EFC-9945-1E017263074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696199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5896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66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20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/>
            </a:lvl1pPr>
          </a:lstStyle>
          <a:p>
            <a:pPr marL="182880" lvl="0" indent="-182880">
              <a:spcBef>
                <a:spcPts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51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484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56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90510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55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32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674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26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PE INTERNAL USE ONL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5E900-B8A4-4B0A-8F67-84B06FBC064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99094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494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685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black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E28BBF5B-08AD-4A77-9AEC-6683501C3E9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5032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3337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0925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4050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160781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386A63C7-4240-49C3-9733-7B4123E51C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5058"/>
            <a:ext cx="12185650" cy="6852942"/>
          </a:xfrm>
          <a:prstGeom prst="rect">
            <a:avLst/>
          </a:prstGeom>
        </p:spPr>
      </p:pic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8" name="Element">
            <a:extLst>
              <a:ext uri="{FF2B5EF4-FFF2-40B4-BE49-F238E27FC236}">
                <a16:creationId xmlns:a16="http://schemas.microsoft.com/office/drawing/2014/main" id="{0FE94D5F-B1ED-408E-8510-F511E1CAF6F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025635-109A-4028-8274-04F1463148D7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21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87599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011074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0003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19985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67113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400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685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5481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8.xml"/><Relationship Id="rId18" Type="http://schemas.openxmlformats.org/officeDocument/2006/relationships/slideLayout" Target="../slideLayouts/slideLayout393.xml"/><Relationship Id="rId26" Type="http://schemas.openxmlformats.org/officeDocument/2006/relationships/slideLayout" Target="../slideLayouts/slideLayout401.xml"/><Relationship Id="rId39" Type="http://schemas.openxmlformats.org/officeDocument/2006/relationships/slideLayout" Target="../slideLayouts/slideLayout414.xml"/><Relationship Id="rId21" Type="http://schemas.openxmlformats.org/officeDocument/2006/relationships/slideLayout" Target="../slideLayouts/slideLayout396.xml"/><Relationship Id="rId34" Type="http://schemas.openxmlformats.org/officeDocument/2006/relationships/slideLayout" Target="../slideLayouts/slideLayout409.xml"/><Relationship Id="rId42" Type="http://schemas.openxmlformats.org/officeDocument/2006/relationships/slideLayout" Target="../slideLayouts/slideLayout417.xml"/><Relationship Id="rId47" Type="http://schemas.openxmlformats.org/officeDocument/2006/relationships/slideLayout" Target="../slideLayouts/slideLayout422.xml"/><Relationship Id="rId50" Type="http://schemas.openxmlformats.org/officeDocument/2006/relationships/oleObject" Target="../embeddings/oleObject5.bin"/><Relationship Id="rId7" Type="http://schemas.openxmlformats.org/officeDocument/2006/relationships/slideLayout" Target="../slideLayouts/slideLayout382.xml"/><Relationship Id="rId2" Type="http://schemas.openxmlformats.org/officeDocument/2006/relationships/slideLayout" Target="../slideLayouts/slideLayout377.xml"/><Relationship Id="rId16" Type="http://schemas.openxmlformats.org/officeDocument/2006/relationships/slideLayout" Target="../slideLayouts/slideLayout391.xml"/><Relationship Id="rId29" Type="http://schemas.openxmlformats.org/officeDocument/2006/relationships/slideLayout" Target="../slideLayouts/slideLayout404.xml"/><Relationship Id="rId11" Type="http://schemas.openxmlformats.org/officeDocument/2006/relationships/slideLayout" Target="../slideLayouts/slideLayout386.xml"/><Relationship Id="rId24" Type="http://schemas.openxmlformats.org/officeDocument/2006/relationships/slideLayout" Target="../slideLayouts/slideLayout399.xml"/><Relationship Id="rId32" Type="http://schemas.openxmlformats.org/officeDocument/2006/relationships/slideLayout" Target="../slideLayouts/slideLayout407.xml"/><Relationship Id="rId37" Type="http://schemas.openxmlformats.org/officeDocument/2006/relationships/slideLayout" Target="../slideLayouts/slideLayout412.xml"/><Relationship Id="rId40" Type="http://schemas.openxmlformats.org/officeDocument/2006/relationships/slideLayout" Target="../slideLayouts/slideLayout415.xml"/><Relationship Id="rId45" Type="http://schemas.openxmlformats.org/officeDocument/2006/relationships/slideLayout" Target="../slideLayouts/slideLayout420.xml"/><Relationship Id="rId5" Type="http://schemas.openxmlformats.org/officeDocument/2006/relationships/slideLayout" Target="../slideLayouts/slideLayout380.xml"/><Relationship Id="rId15" Type="http://schemas.openxmlformats.org/officeDocument/2006/relationships/slideLayout" Target="../slideLayouts/slideLayout390.xml"/><Relationship Id="rId23" Type="http://schemas.openxmlformats.org/officeDocument/2006/relationships/slideLayout" Target="../slideLayouts/slideLayout398.xml"/><Relationship Id="rId28" Type="http://schemas.openxmlformats.org/officeDocument/2006/relationships/slideLayout" Target="../slideLayouts/slideLayout403.xml"/><Relationship Id="rId36" Type="http://schemas.openxmlformats.org/officeDocument/2006/relationships/slideLayout" Target="../slideLayouts/slideLayout411.xml"/><Relationship Id="rId49" Type="http://schemas.openxmlformats.org/officeDocument/2006/relationships/tags" Target="../tags/tag6.xml"/><Relationship Id="rId10" Type="http://schemas.openxmlformats.org/officeDocument/2006/relationships/slideLayout" Target="../slideLayouts/slideLayout385.xml"/><Relationship Id="rId19" Type="http://schemas.openxmlformats.org/officeDocument/2006/relationships/slideLayout" Target="../slideLayouts/slideLayout394.xml"/><Relationship Id="rId31" Type="http://schemas.openxmlformats.org/officeDocument/2006/relationships/slideLayout" Target="../slideLayouts/slideLayout406.xml"/><Relationship Id="rId44" Type="http://schemas.openxmlformats.org/officeDocument/2006/relationships/slideLayout" Target="../slideLayouts/slideLayout419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379.xml"/><Relationship Id="rId9" Type="http://schemas.openxmlformats.org/officeDocument/2006/relationships/slideLayout" Target="../slideLayouts/slideLayout384.xml"/><Relationship Id="rId14" Type="http://schemas.openxmlformats.org/officeDocument/2006/relationships/slideLayout" Target="../slideLayouts/slideLayout389.xml"/><Relationship Id="rId22" Type="http://schemas.openxmlformats.org/officeDocument/2006/relationships/slideLayout" Target="../slideLayouts/slideLayout397.xml"/><Relationship Id="rId27" Type="http://schemas.openxmlformats.org/officeDocument/2006/relationships/slideLayout" Target="../slideLayouts/slideLayout402.xml"/><Relationship Id="rId30" Type="http://schemas.openxmlformats.org/officeDocument/2006/relationships/slideLayout" Target="../slideLayouts/slideLayout405.xml"/><Relationship Id="rId35" Type="http://schemas.openxmlformats.org/officeDocument/2006/relationships/slideLayout" Target="../slideLayouts/slideLayout410.xml"/><Relationship Id="rId43" Type="http://schemas.openxmlformats.org/officeDocument/2006/relationships/slideLayout" Target="../slideLayouts/slideLayout418.xml"/><Relationship Id="rId48" Type="http://schemas.openxmlformats.org/officeDocument/2006/relationships/theme" Target="../theme/theme10.xml"/><Relationship Id="rId8" Type="http://schemas.openxmlformats.org/officeDocument/2006/relationships/slideLayout" Target="../slideLayouts/slideLayout383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78.xml"/><Relationship Id="rId12" Type="http://schemas.openxmlformats.org/officeDocument/2006/relationships/slideLayout" Target="../slideLayouts/slideLayout387.xml"/><Relationship Id="rId17" Type="http://schemas.openxmlformats.org/officeDocument/2006/relationships/slideLayout" Target="../slideLayouts/slideLayout392.xml"/><Relationship Id="rId25" Type="http://schemas.openxmlformats.org/officeDocument/2006/relationships/slideLayout" Target="../slideLayouts/slideLayout400.xml"/><Relationship Id="rId33" Type="http://schemas.openxmlformats.org/officeDocument/2006/relationships/slideLayout" Target="../slideLayouts/slideLayout408.xml"/><Relationship Id="rId38" Type="http://schemas.openxmlformats.org/officeDocument/2006/relationships/slideLayout" Target="../slideLayouts/slideLayout413.xml"/><Relationship Id="rId46" Type="http://schemas.openxmlformats.org/officeDocument/2006/relationships/slideLayout" Target="../slideLayouts/slideLayout421.xml"/><Relationship Id="rId20" Type="http://schemas.openxmlformats.org/officeDocument/2006/relationships/slideLayout" Target="../slideLayouts/slideLayout395.xml"/><Relationship Id="rId41" Type="http://schemas.openxmlformats.org/officeDocument/2006/relationships/slideLayout" Target="../slideLayouts/slideLayout416.xml"/><Relationship Id="rId1" Type="http://schemas.openxmlformats.org/officeDocument/2006/relationships/slideLayout" Target="../slideLayouts/slideLayout376.xml"/><Relationship Id="rId6" Type="http://schemas.openxmlformats.org/officeDocument/2006/relationships/slideLayout" Target="../slideLayouts/slideLayout381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5.xml"/><Relationship Id="rId18" Type="http://schemas.openxmlformats.org/officeDocument/2006/relationships/slideLayout" Target="../slideLayouts/slideLayout440.xml"/><Relationship Id="rId26" Type="http://schemas.openxmlformats.org/officeDocument/2006/relationships/slideLayout" Target="../slideLayouts/slideLayout448.xml"/><Relationship Id="rId39" Type="http://schemas.openxmlformats.org/officeDocument/2006/relationships/slideLayout" Target="../slideLayouts/slideLayout461.xml"/><Relationship Id="rId21" Type="http://schemas.openxmlformats.org/officeDocument/2006/relationships/slideLayout" Target="../slideLayouts/slideLayout443.xml"/><Relationship Id="rId34" Type="http://schemas.openxmlformats.org/officeDocument/2006/relationships/slideLayout" Target="../slideLayouts/slideLayout456.xml"/><Relationship Id="rId42" Type="http://schemas.openxmlformats.org/officeDocument/2006/relationships/slideLayout" Target="../slideLayouts/slideLayout464.xml"/><Relationship Id="rId47" Type="http://schemas.openxmlformats.org/officeDocument/2006/relationships/slideLayout" Target="../slideLayouts/slideLayout469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429.xml"/><Relationship Id="rId2" Type="http://schemas.openxmlformats.org/officeDocument/2006/relationships/slideLayout" Target="../slideLayouts/slideLayout424.xml"/><Relationship Id="rId16" Type="http://schemas.openxmlformats.org/officeDocument/2006/relationships/slideLayout" Target="../slideLayouts/slideLayout438.xml"/><Relationship Id="rId29" Type="http://schemas.openxmlformats.org/officeDocument/2006/relationships/slideLayout" Target="../slideLayouts/slideLayout451.xml"/><Relationship Id="rId11" Type="http://schemas.openxmlformats.org/officeDocument/2006/relationships/slideLayout" Target="../slideLayouts/slideLayout433.xml"/><Relationship Id="rId24" Type="http://schemas.openxmlformats.org/officeDocument/2006/relationships/slideLayout" Target="../slideLayouts/slideLayout446.xml"/><Relationship Id="rId32" Type="http://schemas.openxmlformats.org/officeDocument/2006/relationships/slideLayout" Target="../slideLayouts/slideLayout454.xml"/><Relationship Id="rId37" Type="http://schemas.openxmlformats.org/officeDocument/2006/relationships/slideLayout" Target="../slideLayouts/slideLayout459.xml"/><Relationship Id="rId40" Type="http://schemas.openxmlformats.org/officeDocument/2006/relationships/slideLayout" Target="../slideLayouts/slideLayout462.xml"/><Relationship Id="rId45" Type="http://schemas.openxmlformats.org/officeDocument/2006/relationships/slideLayout" Target="../slideLayouts/slideLayout467.xml"/><Relationship Id="rId5" Type="http://schemas.openxmlformats.org/officeDocument/2006/relationships/slideLayout" Target="../slideLayouts/slideLayout427.xml"/><Relationship Id="rId15" Type="http://schemas.openxmlformats.org/officeDocument/2006/relationships/slideLayout" Target="../slideLayouts/slideLayout437.xml"/><Relationship Id="rId23" Type="http://schemas.openxmlformats.org/officeDocument/2006/relationships/slideLayout" Target="../slideLayouts/slideLayout445.xml"/><Relationship Id="rId28" Type="http://schemas.openxmlformats.org/officeDocument/2006/relationships/slideLayout" Target="../slideLayouts/slideLayout450.xml"/><Relationship Id="rId36" Type="http://schemas.openxmlformats.org/officeDocument/2006/relationships/slideLayout" Target="../slideLayouts/slideLayout458.xml"/><Relationship Id="rId49" Type="http://schemas.openxmlformats.org/officeDocument/2006/relationships/theme" Target="../theme/theme11.xml"/><Relationship Id="rId10" Type="http://schemas.openxmlformats.org/officeDocument/2006/relationships/slideLayout" Target="../slideLayouts/slideLayout432.xml"/><Relationship Id="rId19" Type="http://schemas.openxmlformats.org/officeDocument/2006/relationships/slideLayout" Target="../slideLayouts/slideLayout441.xml"/><Relationship Id="rId31" Type="http://schemas.openxmlformats.org/officeDocument/2006/relationships/slideLayout" Target="../slideLayouts/slideLayout453.xml"/><Relationship Id="rId44" Type="http://schemas.openxmlformats.org/officeDocument/2006/relationships/slideLayout" Target="../slideLayouts/slideLayout466.xml"/><Relationship Id="rId4" Type="http://schemas.openxmlformats.org/officeDocument/2006/relationships/slideLayout" Target="../slideLayouts/slideLayout426.xml"/><Relationship Id="rId9" Type="http://schemas.openxmlformats.org/officeDocument/2006/relationships/slideLayout" Target="../slideLayouts/slideLayout431.xml"/><Relationship Id="rId14" Type="http://schemas.openxmlformats.org/officeDocument/2006/relationships/slideLayout" Target="../slideLayouts/slideLayout436.xml"/><Relationship Id="rId22" Type="http://schemas.openxmlformats.org/officeDocument/2006/relationships/slideLayout" Target="../slideLayouts/slideLayout444.xml"/><Relationship Id="rId27" Type="http://schemas.openxmlformats.org/officeDocument/2006/relationships/slideLayout" Target="../slideLayouts/slideLayout449.xml"/><Relationship Id="rId30" Type="http://schemas.openxmlformats.org/officeDocument/2006/relationships/slideLayout" Target="../slideLayouts/slideLayout452.xml"/><Relationship Id="rId35" Type="http://schemas.openxmlformats.org/officeDocument/2006/relationships/slideLayout" Target="../slideLayouts/slideLayout457.xml"/><Relationship Id="rId43" Type="http://schemas.openxmlformats.org/officeDocument/2006/relationships/slideLayout" Target="../slideLayouts/slideLayout465.xml"/><Relationship Id="rId48" Type="http://schemas.openxmlformats.org/officeDocument/2006/relationships/slideLayout" Target="../slideLayouts/slideLayout470.xml"/><Relationship Id="rId8" Type="http://schemas.openxmlformats.org/officeDocument/2006/relationships/slideLayout" Target="../slideLayouts/slideLayout430.xml"/><Relationship Id="rId3" Type="http://schemas.openxmlformats.org/officeDocument/2006/relationships/slideLayout" Target="../slideLayouts/slideLayout425.xml"/><Relationship Id="rId12" Type="http://schemas.openxmlformats.org/officeDocument/2006/relationships/slideLayout" Target="../slideLayouts/slideLayout434.xml"/><Relationship Id="rId17" Type="http://schemas.openxmlformats.org/officeDocument/2006/relationships/slideLayout" Target="../slideLayouts/slideLayout439.xml"/><Relationship Id="rId25" Type="http://schemas.openxmlformats.org/officeDocument/2006/relationships/slideLayout" Target="../slideLayouts/slideLayout447.xml"/><Relationship Id="rId33" Type="http://schemas.openxmlformats.org/officeDocument/2006/relationships/slideLayout" Target="../slideLayouts/slideLayout455.xml"/><Relationship Id="rId38" Type="http://schemas.openxmlformats.org/officeDocument/2006/relationships/slideLayout" Target="../slideLayouts/slideLayout460.xml"/><Relationship Id="rId46" Type="http://schemas.openxmlformats.org/officeDocument/2006/relationships/slideLayout" Target="../slideLayouts/slideLayout468.xml"/><Relationship Id="rId20" Type="http://schemas.openxmlformats.org/officeDocument/2006/relationships/slideLayout" Target="../slideLayouts/slideLayout442.xml"/><Relationship Id="rId41" Type="http://schemas.openxmlformats.org/officeDocument/2006/relationships/slideLayout" Target="../slideLayouts/slideLayout463.xml"/><Relationship Id="rId1" Type="http://schemas.openxmlformats.org/officeDocument/2006/relationships/slideLayout" Target="../slideLayouts/slideLayout423.xml"/><Relationship Id="rId6" Type="http://schemas.openxmlformats.org/officeDocument/2006/relationships/slideLayout" Target="../slideLayouts/slideLayout428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471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4.xml"/><Relationship Id="rId18" Type="http://schemas.openxmlformats.org/officeDocument/2006/relationships/slideLayout" Target="../slideLayouts/slideLayout489.xml"/><Relationship Id="rId26" Type="http://schemas.openxmlformats.org/officeDocument/2006/relationships/slideLayout" Target="../slideLayouts/slideLayout497.xml"/><Relationship Id="rId39" Type="http://schemas.openxmlformats.org/officeDocument/2006/relationships/slideLayout" Target="../slideLayouts/slideLayout510.xml"/><Relationship Id="rId21" Type="http://schemas.openxmlformats.org/officeDocument/2006/relationships/slideLayout" Target="../slideLayouts/slideLayout492.xml"/><Relationship Id="rId34" Type="http://schemas.openxmlformats.org/officeDocument/2006/relationships/slideLayout" Target="../slideLayouts/slideLayout505.xml"/><Relationship Id="rId42" Type="http://schemas.openxmlformats.org/officeDocument/2006/relationships/slideLayout" Target="../slideLayouts/slideLayout513.xml"/><Relationship Id="rId47" Type="http://schemas.openxmlformats.org/officeDocument/2006/relationships/theme" Target="../theme/theme13.xml"/><Relationship Id="rId7" Type="http://schemas.openxmlformats.org/officeDocument/2006/relationships/slideLayout" Target="../slideLayouts/slideLayout478.xml"/><Relationship Id="rId2" Type="http://schemas.openxmlformats.org/officeDocument/2006/relationships/slideLayout" Target="../slideLayouts/slideLayout473.xml"/><Relationship Id="rId16" Type="http://schemas.openxmlformats.org/officeDocument/2006/relationships/slideLayout" Target="../slideLayouts/slideLayout487.xml"/><Relationship Id="rId29" Type="http://schemas.openxmlformats.org/officeDocument/2006/relationships/slideLayout" Target="../slideLayouts/slideLayout500.xml"/><Relationship Id="rId11" Type="http://schemas.openxmlformats.org/officeDocument/2006/relationships/slideLayout" Target="../slideLayouts/slideLayout482.xml"/><Relationship Id="rId24" Type="http://schemas.openxmlformats.org/officeDocument/2006/relationships/slideLayout" Target="../slideLayouts/slideLayout495.xml"/><Relationship Id="rId32" Type="http://schemas.openxmlformats.org/officeDocument/2006/relationships/slideLayout" Target="../slideLayouts/slideLayout503.xml"/><Relationship Id="rId37" Type="http://schemas.openxmlformats.org/officeDocument/2006/relationships/slideLayout" Target="../slideLayouts/slideLayout508.xml"/><Relationship Id="rId40" Type="http://schemas.openxmlformats.org/officeDocument/2006/relationships/slideLayout" Target="../slideLayouts/slideLayout511.xml"/><Relationship Id="rId45" Type="http://schemas.openxmlformats.org/officeDocument/2006/relationships/slideLayout" Target="../slideLayouts/slideLayout516.xml"/><Relationship Id="rId5" Type="http://schemas.openxmlformats.org/officeDocument/2006/relationships/slideLayout" Target="../slideLayouts/slideLayout476.xml"/><Relationship Id="rId15" Type="http://schemas.openxmlformats.org/officeDocument/2006/relationships/slideLayout" Target="../slideLayouts/slideLayout486.xml"/><Relationship Id="rId23" Type="http://schemas.openxmlformats.org/officeDocument/2006/relationships/slideLayout" Target="../slideLayouts/slideLayout494.xml"/><Relationship Id="rId28" Type="http://schemas.openxmlformats.org/officeDocument/2006/relationships/slideLayout" Target="../slideLayouts/slideLayout499.xml"/><Relationship Id="rId36" Type="http://schemas.openxmlformats.org/officeDocument/2006/relationships/slideLayout" Target="../slideLayouts/slideLayout507.xml"/><Relationship Id="rId49" Type="http://schemas.openxmlformats.org/officeDocument/2006/relationships/image" Target="../media/image28.png"/><Relationship Id="rId10" Type="http://schemas.openxmlformats.org/officeDocument/2006/relationships/slideLayout" Target="../slideLayouts/slideLayout481.xml"/><Relationship Id="rId19" Type="http://schemas.openxmlformats.org/officeDocument/2006/relationships/slideLayout" Target="../slideLayouts/slideLayout490.xml"/><Relationship Id="rId31" Type="http://schemas.openxmlformats.org/officeDocument/2006/relationships/slideLayout" Target="../slideLayouts/slideLayout502.xml"/><Relationship Id="rId44" Type="http://schemas.openxmlformats.org/officeDocument/2006/relationships/slideLayout" Target="../slideLayouts/slideLayout515.xml"/><Relationship Id="rId4" Type="http://schemas.openxmlformats.org/officeDocument/2006/relationships/slideLayout" Target="../slideLayouts/slideLayout475.xml"/><Relationship Id="rId9" Type="http://schemas.openxmlformats.org/officeDocument/2006/relationships/slideLayout" Target="../slideLayouts/slideLayout480.xml"/><Relationship Id="rId14" Type="http://schemas.openxmlformats.org/officeDocument/2006/relationships/slideLayout" Target="../slideLayouts/slideLayout485.xml"/><Relationship Id="rId22" Type="http://schemas.openxmlformats.org/officeDocument/2006/relationships/slideLayout" Target="../slideLayouts/slideLayout493.xml"/><Relationship Id="rId27" Type="http://schemas.openxmlformats.org/officeDocument/2006/relationships/slideLayout" Target="../slideLayouts/slideLayout498.xml"/><Relationship Id="rId30" Type="http://schemas.openxmlformats.org/officeDocument/2006/relationships/slideLayout" Target="../slideLayouts/slideLayout501.xml"/><Relationship Id="rId35" Type="http://schemas.openxmlformats.org/officeDocument/2006/relationships/slideLayout" Target="../slideLayouts/slideLayout506.xml"/><Relationship Id="rId43" Type="http://schemas.openxmlformats.org/officeDocument/2006/relationships/slideLayout" Target="../slideLayouts/slideLayout514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479.xml"/><Relationship Id="rId3" Type="http://schemas.openxmlformats.org/officeDocument/2006/relationships/slideLayout" Target="../slideLayouts/slideLayout474.xml"/><Relationship Id="rId12" Type="http://schemas.openxmlformats.org/officeDocument/2006/relationships/slideLayout" Target="../slideLayouts/slideLayout483.xml"/><Relationship Id="rId17" Type="http://schemas.openxmlformats.org/officeDocument/2006/relationships/slideLayout" Target="../slideLayouts/slideLayout488.xml"/><Relationship Id="rId25" Type="http://schemas.openxmlformats.org/officeDocument/2006/relationships/slideLayout" Target="../slideLayouts/slideLayout496.xml"/><Relationship Id="rId33" Type="http://schemas.openxmlformats.org/officeDocument/2006/relationships/slideLayout" Target="../slideLayouts/slideLayout504.xml"/><Relationship Id="rId38" Type="http://schemas.openxmlformats.org/officeDocument/2006/relationships/slideLayout" Target="../slideLayouts/slideLayout509.xml"/><Relationship Id="rId46" Type="http://schemas.openxmlformats.org/officeDocument/2006/relationships/slideLayout" Target="../slideLayouts/slideLayout517.xml"/><Relationship Id="rId20" Type="http://schemas.openxmlformats.org/officeDocument/2006/relationships/slideLayout" Target="../slideLayouts/slideLayout491.xml"/><Relationship Id="rId41" Type="http://schemas.openxmlformats.org/officeDocument/2006/relationships/slideLayout" Target="../slideLayouts/slideLayout512.xml"/><Relationship Id="rId1" Type="http://schemas.openxmlformats.org/officeDocument/2006/relationships/slideLayout" Target="../slideLayouts/slideLayout472.xml"/><Relationship Id="rId6" Type="http://schemas.openxmlformats.org/officeDocument/2006/relationships/slideLayout" Target="../slideLayouts/slideLayout47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slideLayout" Target="../slideLayouts/slideLayout110.xml"/><Relationship Id="rId39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05.xml"/><Relationship Id="rId34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26.xml"/><Relationship Id="rId47" Type="http://schemas.openxmlformats.org/officeDocument/2006/relationships/slideLayout" Target="../slideLayouts/slideLayout131.xml"/><Relationship Id="rId50" Type="http://schemas.openxmlformats.org/officeDocument/2006/relationships/oleObject" Target="../embeddings/oleObject3.bin"/><Relationship Id="rId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32" Type="http://schemas.openxmlformats.org/officeDocument/2006/relationships/slideLayout" Target="../slideLayouts/slideLayout116.xml"/><Relationship Id="rId37" Type="http://schemas.openxmlformats.org/officeDocument/2006/relationships/slideLayout" Target="../slideLayouts/slideLayout121.xml"/><Relationship Id="rId40" Type="http://schemas.openxmlformats.org/officeDocument/2006/relationships/slideLayout" Target="../slideLayouts/slideLayout124.xml"/><Relationship Id="rId45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slideLayout" Target="../slideLayouts/slideLayout112.xml"/><Relationship Id="rId36" Type="http://schemas.openxmlformats.org/officeDocument/2006/relationships/slideLayout" Target="../slideLayouts/slideLayout120.xml"/><Relationship Id="rId49" Type="http://schemas.openxmlformats.org/officeDocument/2006/relationships/tags" Target="../tags/tag4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31" Type="http://schemas.openxmlformats.org/officeDocument/2006/relationships/slideLayout" Target="../slideLayouts/slideLayout115.xml"/><Relationship Id="rId44" Type="http://schemas.openxmlformats.org/officeDocument/2006/relationships/slideLayout" Target="../slideLayouts/slideLayout128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14.xml"/><Relationship Id="rId35" Type="http://schemas.openxmlformats.org/officeDocument/2006/relationships/slideLayout" Target="../slideLayouts/slideLayout119.xml"/><Relationship Id="rId43" Type="http://schemas.openxmlformats.org/officeDocument/2006/relationships/slideLayout" Target="../slideLayouts/slideLayout127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92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33" Type="http://schemas.openxmlformats.org/officeDocument/2006/relationships/slideLayout" Target="../slideLayouts/slideLayout117.xml"/><Relationship Id="rId38" Type="http://schemas.openxmlformats.org/officeDocument/2006/relationships/slideLayout" Target="../slideLayouts/slideLayout122.xml"/><Relationship Id="rId4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04.xml"/><Relationship Id="rId41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9" Type="http://schemas.openxmlformats.org/officeDocument/2006/relationships/slideLayout" Target="../slideLayouts/slideLayout170.xml"/><Relationship Id="rId21" Type="http://schemas.openxmlformats.org/officeDocument/2006/relationships/slideLayout" Target="../slideLayouts/slideLayout152.xml"/><Relationship Id="rId34" Type="http://schemas.openxmlformats.org/officeDocument/2006/relationships/slideLayout" Target="../slideLayouts/slideLayout165.xml"/><Relationship Id="rId42" Type="http://schemas.openxmlformats.org/officeDocument/2006/relationships/slideLayout" Target="../slideLayouts/slideLayout173.xml"/><Relationship Id="rId47" Type="http://schemas.openxmlformats.org/officeDocument/2006/relationships/slideLayout" Target="../slideLayouts/slideLayout178.xml"/><Relationship Id="rId50" Type="http://schemas.openxmlformats.org/officeDocument/2006/relationships/theme" Target="../theme/theme4.xml"/><Relationship Id="rId7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9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32" Type="http://schemas.openxmlformats.org/officeDocument/2006/relationships/slideLayout" Target="../slideLayouts/slideLayout163.xml"/><Relationship Id="rId37" Type="http://schemas.openxmlformats.org/officeDocument/2006/relationships/slideLayout" Target="../slideLayouts/slideLayout168.xml"/><Relationship Id="rId40" Type="http://schemas.openxmlformats.org/officeDocument/2006/relationships/slideLayout" Target="../slideLayouts/slideLayout171.xml"/><Relationship Id="rId45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slideLayout" Target="../slideLayouts/slideLayout159.xml"/><Relationship Id="rId36" Type="http://schemas.openxmlformats.org/officeDocument/2006/relationships/slideLayout" Target="../slideLayouts/slideLayout167.xml"/><Relationship Id="rId49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31" Type="http://schemas.openxmlformats.org/officeDocument/2006/relationships/slideLayout" Target="../slideLayouts/slideLayout162.xml"/><Relationship Id="rId44" Type="http://schemas.openxmlformats.org/officeDocument/2006/relationships/slideLayout" Target="../slideLayouts/slideLayout175.xml"/><Relationship Id="rId52" Type="http://schemas.openxmlformats.org/officeDocument/2006/relationships/image" Target="../media/image9.png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Relationship Id="rId30" Type="http://schemas.openxmlformats.org/officeDocument/2006/relationships/slideLayout" Target="../slideLayouts/slideLayout161.xml"/><Relationship Id="rId35" Type="http://schemas.openxmlformats.org/officeDocument/2006/relationships/slideLayout" Target="../slideLayouts/slideLayout166.xml"/><Relationship Id="rId43" Type="http://schemas.openxmlformats.org/officeDocument/2006/relationships/slideLayout" Target="../slideLayouts/slideLayout174.xml"/><Relationship Id="rId48" Type="http://schemas.openxmlformats.org/officeDocument/2006/relationships/slideLayout" Target="../slideLayouts/slideLayout179.xml"/><Relationship Id="rId8" Type="http://schemas.openxmlformats.org/officeDocument/2006/relationships/slideLayout" Target="../slideLayouts/slideLayout139.xml"/><Relationship Id="rId51" Type="http://schemas.openxmlformats.org/officeDocument/2006/relationships/image" Target="../media/image2.png"/><Relationship Id="rId3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33" Type="http://schemas.openxmlformats.org/officeDocument/2006/relationships/slideLayout" Target="../slideLayouts/slideLayout164.xml"/><Relationship Id="rId38" Type="http://schemas.openxmlformats.org/officeDocument/2006/relationships/slideLayout" Target="../slideLayouts/slideLayout169.xml"/><Relationship Id="rId46" Type="http://schemas.openxmlformats.org/officeDocument/2006/relationships/slideLayout" Target="../slideLayouts/slideLayout177.xml"/><Relationship Id="rId20" Type="http://schemas.openxmlformats.org/officeDocument/2006/relationships/slideLayout" Target="../slideLayouts/slideLayout151.xml"/><Relationship Id="rId41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3.xml"/><Relationship Id="rId18" Type="http://schemas.openxmlformats.org/officeDocument/2006/relationships/slideLayout" Target="../slideLayouts/slideLayout198.xml"/><Relationship Id="rId26" Type="http://schemas.openxmlformats.org/officeDocument/2006/relationships/slideLayout" Target="../slideLayouts/slideLayout20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01.xml"/><Relationship Id="rId34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17" Type="http://schemas.openxmlformats.org/officeDocument/2006/relationships/slideLayout" Target="../slideLayouts/slideLayout197.xml"/><Relationship Id="rId25" Type="http://schemas.openxmlformats.org/officeDocument/2006/relationships/slideLayout" Target="../slideLayouts/slideLayout205.xml"/><Relationship Id="rId33" Type="http://schemas.openxmlformats.org/officeDocument/2006/relationships/slideLayout" Target="../slideLayouts/slideLayout213.xml"/><Relationship Id="rId38" Type="http://schemas.openxmlformats.org/officeDocument/2006/relationships/theme" Target="../theme/theme5.xml"/><Relationship Id="rId2" Type="http://schemas.openxmlformats.org/officeDocument/2006/relationships/slideLayout" Target="../slideLayouts/slideLayout182.xml"/><Relationship Id="rId16" Type="http://schemas.openxmlformats.org/officeDocument/2006/relationships/slideLayout" Target="../slideLayouts/slideLayout196.xml"/><Relationship Id="rId20" Type="http://schemas.openxmlformats.org/officeDocument/2006/relationships/slideLayout" Target="../slideLayouts/slideLayout200.xml"/><Relationship Id="rId29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24" Type="http://schemas.openxmlformats.org/officeDocument/2006/relationships/slideLayout" Target="../slideLayouts/slideLayout204.xml"/><Relationship Id="rId32" Type="http://schemas.openxmlformats.org/officeDocument/2006/relationships/slideLayout" Target="../slideLayouts/slideLayout212.xml"/><Relationship Id="rId37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185.xml"/><Relationship Id="rId15" Type="http://schemas.openxmlformats.org/officeDocument/2006/relationships/slideLayout" Target="../slideLayouts/slideLayout195.xml"/><Relationship Id="rId23" Type="http://schemas.openxmlformats.org/officeDocument/2006/relationships/slideLayout" Target="../slideLayouts/slideLayout203.xml"/><Relationship Id="rId28" Type="http://schemas.openxmlformats.org/officeDocument/2006/relationships/slideLayout" Target="../slideLayouts/slideLayout208.xml"/><Relationship Id="rId36" Type="http://schemas.openxmlformats.org/officeDocument/2006/relationships/slideLayout" Target="../slideLayouts/slideLayout216.xml"/><Relationship Id="rId10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199.xml"/><Relationship Id="rId31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slideLayout" Target="../slideLayouts/slideLayout194.xml"/><Relationship Id="rId22" Type="http://schemas.openxmlformats.org/officeDocument/2006/relationships/slideLayout" Target="../slideLayouts/slideLayout202.xml"/><Relationship Id="rId27" Type="http://schemas.openxmlformats.org/officeDocument/2006/relationships/slideLayout" Target="../slideLayouts/slideLayout207.xml"/><Relationship Id="rId30" Type="http://schemas.openxmlformats.org/officeDocument/2006/relationships/slideLayout" Target="../slideLayouts/slideLayout210.xml"/><Relationship Id="rId35" Type="http://schemas.openxmlformats.org/officeDocument/2006/relationships/slideLayout" Target="../slideLayouts/slideLayout215.xml"/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0.xml"/><Relationship Id="rId18" Type="http://schemas.openxmlformats.org/officeDocument/2006/relationships/slideLayout" Target="../slideLayouts/slideLayout235.xml"/><Relationship Id="rId26" Type="http://schemas.openxmlformats.org/officeDocument/2006/relationships/slideLayout" Target="../slideLayouts/slideLayout243.xml"/><Relationship Id="rId39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38.xml"/><Relationship Id="rId34" Type="http://schemas.openxmlformats.org/officeDocument/2006/relationships/slideLayout" Target="../slideLayouts/slideLayout251.xml"/><Relationship Id="rId42" Type="http://schemas.openxmlformats.org/officeDocument/2006/relationships/slideLayout" Target="../slideLayouts/slideLayout259.xml"/><Relationship Id="rId47" Type="http://schemas.openxmlformats.org/officeDocument/2006/relationships/slideLayout" Target="../slideLayouts/slideLayout264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29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28.xml"/><Relationship Id="rId24" Type="http://schemas.openxmlformats.org/officeDocument/2006/relationships/slideLayout" Target="../slideLayouts/slideLayout241.xml"/><Relationship Id="rId32" Type="http://schemas.openxmlformats.org/officeDocument/2006/relationships/slideLayout" Target="../slideLayouts/slideLayout249.xml"/><Relationship Id="rId37" Type="http://schemas.openxmlformats.org/officeDocument/2006/relationships/slideLayout" Target="../slideLayouts/slideLayout254.xml"/><Relationship Id="rId40" Type="http://schemas.openxmlformats.org/officeDocument/2006/relationships/slideLayout" Target="../slideLayouts/slideLayout257.xml"/><Relationship Id="rId45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23" Type="http://schemas.openxmlformats.org/officeDocument/2006/relationships/slideLayout" Target="../slideLayouts/slideLayout240.xml"/><Relationship Id="rId28" Type="http://schemas.openxmlformats.org/officeDocument/2006/relationships/slideLayout" Target="../slideLayouts/slideLayout245.xml"/><Relationship Id="rId36" Type="http://schemas.openxmlformats.org/officeDocument/2006/relationships/slideLayout" Target="../slideLayouts/slideLayout253.xml"/><Relationship Id="rId49" Type="http://schemas.openxmlformats.org/officeDocument/2006/relationships/theme" Target="../theme/theme6.xml"/><Relationship Id="rId10" Type="http://schemas.openxmlformats.org/officeDocument/2006/relationships/slideLayout" Target="../slideLayouts/slideLayout227.xml"/><Relationship Id="rId19" Type="http://schemas.openxmlformats.org/officeDocument/2006/relationships/slideLayout" Target="../slideLayouts/slideLayout236.xml"/><Relationship Id="rId31" Type="http://schemas.openxmlformats.org/officeDocument/2006/relationships/slideLayout" Target="../slideLayouts/slideLayout248.xml"/><Relationship Id="rId44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Relationship Id="rId22" Type="http://schemas.openxmlformats.org/officeDocument/2006/relationships/slideLayout" Target="../slideLayouts/slideLayout239.xml"/><Relationship Id="rId27" Type="http://schemas.openxmlformats.org/officeDocument/2006/relationships/slideLayout" Target="../slideLayouts/slideLayout244.xml"/><Relationship Id="rId30" Type="http://schemas.openxmlformats.org/officeDocument/2006/relationships/slideLayout" Target="../slideLayouts/slideLayout247.xml"/><Relationship Id="rId35" Type="http://schemas.openxmlformats.org/officeDocument/2006/relationships/slideLayout" Target="../slideLayouts/slideLayout252.xml"/><Relationship Id="rId43" Type="http://schemas.openxmlformats.org/officeDocument/2006/relationships/slideLayout" Target="../slideLayouts/slideLayout260.xml"/><Relationship Id="rId48" Type="http://schemas.openxmlformats.org/officeDocument/2006/relationships/slideLayout" Target="../slideLayouts/slideLayout265.xml"/><Relationship Id="rId8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9.xml"/><Relationship Id="rId17" Type="http://schemas.openxmlformats.org/officeDocument/2006/relationships/slideLayout" Target="../slideLayouts/slideLayout234.xml"/><Relationship Id="rId25" Type="http://schemas.openxmlformats.org/officeDocument/2006/relationships/slideLayout" Target="../slideLayouts/slideLayout242.xml"/><Relationship Id="rId33" Type="http://schemas.openxmlformats.org/officeDocument/2006/relationships/slideLayout" Target="../slideLayouts/slideLayout250.xml"/><Relationship Id="rId38" Type="http://schemas.openxmlformats.org/officeDocument/2006/relationships/slideLayout" Target="../slideLayouts/slideLayout255.xml"/><Relationship Id="rId46" Type="http://schemas.openxmlformats.org/officeDocument/2006/relationships/slideLayout" Target="../slideLayouts/slideLayout263.xml"/><Relationship Id="rId20" Type="http://schemas.openxmlformats.org/officeDocument/2006/relationships/slideLayout" Target="../slideLayouts/slideLayout237.xml"/><Relationship Id="rId41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8.xml"/><Relationship Id="rId18" Type="http://schemas.openxmlformats.org/officeDocument/2006/relationships/slideLayout" Target="../slideLayouts/slideLayout283.xml"/><Relationship Id="rId26" Type="http://schemas.openxmlformats.org/officeDocument/2006/relationships/slideLayout" Target="../slideLayouts/slideLayout291.xml"/><Relationship Id="rId21" Type="http://schemas.openxmlformats.org/officeDocument/2006/relationships/slideLayout" Target="../slideLayouts/slideLayout286.xml"/><Relationship Id="rId34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272.xml"/><Relationship Id="rId12" Type="http://schemas.openxmlformats.org/officeDocument/2006/relationships/slideLayout" Target="../slideLayouts/slideLayout277.xml"/><Relationship Id="rId17" Type="http://schemas.openxmlformats.org/officeDocument/2006/relationships/slideLayout" Target="../slideLayouts/slideLayout282.xml"/><Relationship Id="rId25" Type="http://schemas.openxmlformats.org/officeDocument/2006/relationships/slideLayout" Target="../slideLayouts/slideLayout290.xml"/><Relationship Id="rId33" Type="http://schemas.openxmlformats.org/officeDocument/2006/relationships/slideLayout" Target="../slideLayouts/slideLayout298.xml"/><Relationship Id="rId2" Type="http://schemas.openxmlformats.org/officeDocument/2006/relationships/slideLayout" Target="../slideLayouts/slideLayout267.xml"/><Relationship Id="rId16" Type="http://schemas.openxmlformats.org/officeDocument/2006/relationships/slideLayout" Target="../slideLayouts/slideLayout281.xml"/><Relationship Id="rId20" Type="http://schemas.openxmlformats.org/officeDocument/2006/relationships/slideLayout" Target="../slideLayouts/slideLayout285.xml"/><Relationship Id="rId29" Type="http://schemas.openxmlformats.org/officeDocument/2006/relationships/slideLayout" Target="../slideLayouts/slideLayout294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24" Type="http://schemas.openxmlformats.org/officeDocument/2006/relationships/slideLayout" Target="../slideLayouts/slideLayout289.xml"/><Relationship Id="rId32" Type="http://schemas.openxmlformats.org/officeDocument/2006/relationships/slideLayout" Target="../slideLayouts/slideLayout297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270.xml"/><Relationship Id="rId15" Type="http://schemas.openxmlformats.org/officeDocument/2006/relationships/slideLayout" Target="../slideLayouts/slideLayout280.xml"/><Relationship Id="rId23" Type="http://schemas.openxmlformats.org/officeDocument/2006/relationships/slideLayout" Target="../slideLayouts/slideLayout288.xml"/><Relationship Id="rId28" Type="http://schemas.openxmlformats.org/officeDocument/2006/relationships/slideLayout" Target="../slideLayouts/slideLayout293.xml"/><Relationship Id="rId36" Type="http://schemas.openxmlformats.org/officeDocument/2006/relationships/theme" Target="../theme/theme7.xml"/><Relationship Id="rId10" Type="http://schemas.openxmlformats.org/officeDocument/2006/relationships/slideLayout" Target="../slideLayouts/slideLayout275.xml"/><Relationship Id="rId19" Type="http://schemas.openxmlformats.org/officeDocument/2006/relationships/slideLayout" Target="../slideLayouts/slideLayout284.xml"/><Relationship Id="rId31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Relationship Id="rId14" Type="http://schemas.openxmlformats.org/officeDocument/2006/relationships/slideLayout" Target="../slideLayouts/slideLayout279.xml"/><Relationship Id="rId22" Type="http://schemas.openxmlformats.org/officeDocument/2006/relationships/slideLayout" Target="../slideLayouts/slideLayout287.xml"/><Relationship Id="rId27" Type="http://schemas.openxmlformats.org/officeDocument/2006/relationships/slideLayout" Target="../slideLayouts/slideLayout292.xml"/><Relationship Id="rId30" Type="http://schemas.openxmlformats.org/officeDocument/2006/relationships/slideLayout" Target="../slideLayouts/slideLayout295.xml"/><Relationship Id="rId35" Type="http://schemas.openxmlformats.org/officeDocument/2006/relationships/slideLayout" Target="../slideLayouts/slideLayout300.xml"/><Relationship Id="rId8" Type="http://schemas.openxmlformats.org/officeDocument/2006/relationships/slideLayout" Target="../slideLayouts/slideLayout273.xml"/><Relationship Id="rId3" Type="http://schemas.openxmlformats.org/officeDocument/2006/relationships/slideLayout" Target="../slideLayouts/slideLayout268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3.xml"/><Relationship Id="rId18" Type="http://schemas.openxmlformats.org/officeDocument/2006/relationships/slideLayout" Target="../slideLayouts/slideLayout318.xml"/><Relationship Id="rId26" Type="http://schemas.openxmlformats.org/officeDocument/2006/relationships/slideLayout" Target="../slideLayouts/slideLayout3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321.xml"/><Relationship Id="rId34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307.xml"/><Relationship Id="rId12" Type="http://schemas.openxmlformats.org/officeDocument/2006/relationships/slideLayout" Target="../slideLayouts/slideLayout312.xml"/><Relationship Id="rId17" Type="http://schemas.openxmlformats.org/officeDocument/2006/relationships/slideLayout" Target="../slideLayouts/slideLayout317.xml"/><Relationship Id="rId25" Type="http://schemas.openxmlformats.org/officeDocument/2006/relationships/slideLayout" Target="../slideLayouts/slideLayout325.xml"/><Relationship Id="rId33" Type="http://schemas.openxmlformats.org/officeDocument/2006/relationships/slideLayout" Target="../slideLayouts/slideLayout333.xml"/><Relationship Id="rId38" Type="http://schemas.openxmlformats.org/officeDocument/2006/relationships/theme" Target="../theme/theme8.xml"/><Relationship Id="rId2" Type="http://schemas.openxmlformats.org/officeDocument/2006/relationships/slideLayout" Target="../slideLayouts/slideLayout302.xml"/><Relationship Id="rId16" Type="http://schemas.openxmlformats.org/officeDocument/2006/relationships/slideLayout" Target="../slideLayouts/slideLayout316.xml"/><Relationship Id="rId20" Type="http://schemas.openxmlformats.org/officeDocument/2006/relationships/slideLayout" Target="../slideLayouts/slideLayout320.xml"/><Relationship Id="rId29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6.xml"/><Relationship Id="rId11" Type="http://schemas.openxmlformats.org/officeDocument/2006/relationships/slideLayout" Target="../slideLayouts/slideLayout311.xml"/><Relationship Id="rId24" Type="http://schemas.openxmlformats.org/officeDocument/2006/relationships/slideLayout" Target="../slideLayouts/slideLayout324.xml"/><Relationship Id="rId32" Type="http://schemas.openxmlformats.org/officeDocument/2006/relationships/slideLayout" Target="../slideLayouts/slideLayout332.xml"/><Relationship Id="rId37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05.xml"/><Relationship Id="rId15" Type="http://schemas.openxmlformats.org/officeDocument/2006/relationships/slideLayout" Target="../slideLayouts/slideLayout315.xml"/><Relationship Id="rId23" Type="http://schemas.openxmlformats.org/officeDocument/2006/relationships/slideLayout" Target="../slideLayouts/slideLayout323.xml"/><Relationship Id="rId28" Type="http://schemas.openxmlformats.org/officeDocument/2006/relationships/slideLayout" Target="../slideLayouts/slideLayout328.xml"/><Relationship Id="rId36" Type="http://schemas.openxmlformats.org/officeDocument/2006/relationships/slideLayout" Target="../slideLayouts/slideLayout336.xml"/><Relationship Id="rId10" Type="http://schemas.openxmlformats.org/officeDocument/2006/relationships/slideLayout" Target="../slideLayouts/slideLayout310.xml"/><Relationship Id="rId19" Type="http://schemas.openxmlformats.org/officeDocument/2006/relationships/slideLayout" Target="../slideLayouts/slideLayout319.xml"/><Relationship Id="rId31" Type="http://schemas.openxmlformats.org/officeDocument/2006/relationships/slideLayout" Target="../slideLayouts/slideLayout331.xml"/><Relationship Id="rId4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9.xml"/><Relationship Id="rId14" Type="http://schemas.openxmlformats.org/officeDocument/2006/relationships/slideLayout" Target="../slideLayouts/slideLayout314.xml"/><Relationship Id="rId22" Type="http://schemas.openxmlformats.org/officeDocument/2006/relationships/slideLayout" Target="../slideLayouts/slideLayout322.xml"/><Relationship Id="rId27" Type="http://schemas.openxmlformats.org/officeDocument/2006/relationships/slideLayout" Target="../slideLayouts/slideLayout327.xml"/><Relationship Id="rId30" Type="http://schemas.openxmlformats.org/officeDocument/2006/relationships/slideLayout" Target="../slideLayouts/slideLayout330.xml"/><Relationship Id="rId35" Type="http://schemas.openxmlformats.org/officeDocument/2006/relationships/slideLayout" Target="../slideLayouts/slideLayout335.xml"/><Relationship Id="rId8" Type="http://schemas.openxmlformats.org/officeDocument/2006/relationships/slideLayout" Target="../slideLayouts/slideLayout308.xml"/><Relationship Id="rId3" Type="http://schemas.openxmlformats.org/officeDocument/2006/relationships/slideLayout" Target="../slideLayouts/slideLayout303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0.xml"/><Relationship Id="rId18" Type="http://schemas.openxmlformats.org/officeDocument/2006/relationships/slideLayout" Target="../slideLayouts/slideLayout355.xml"/><Relationship Id="rId26" Type="http://schemas.openxmlformats.org/officeDocument/2006/relationships/slideLayout" Target="../slideLayouts/slideLayout363.xml"/><Relationship Id="rId39" Type="http://schemas.openxmlformats.org/officeDocument/2006/relationships/theme" Target="../theme/theme9.xml"/><Relationship Id="rId21" Type="http://schemas.openxmlformats.org/officeDocument/2006/relationships/slideLayout" Target="../slideLayouts/slideLayout358.xml"/><Relationship Id="rId34" Type="http://schemas.openxmlformats.org/officeDocument/2006/relationships/slideLayout" Target="../slideLayouts/slideLayout371.xml"/><Relationship Id="rId7" Type="http://schemas.openxmlformats.org/officeDocument/2006/relationships/slideLayout" Target="../slideLayouts/slideLayout344.xml"/><Relationship Id="rId12" Type="http://schemas.openxmlformats.org/officeDocument/2006/relationships/slideLayout" Target="../slideLayouts/slideLayout349.xml"/><Relationship Id="rId17" Type="http://schemas.openxmlformats.org/officeDocument/2006/relationships/slideLayout" Target="../slideLayouts/slideLayout354.xml"/><Relationship Id="rId25" Type="http://schemas.openxmlformats.org/officeDocument/2006/relationships/slideLayout" Target="../slideLayouts/slideLayout362.xml"/><Relationship Id="rId33" Type="http://schemas.openxmlformats.org/officeDocument/2006/relationships/slideLayout" Target="../slideLayouts/slideLayout370.xml"/><Relationship Id="rId38" Type="http://schemas.openxmlformats.org/officeDocument/2006/relationships/slideLayout" Target="../slideLayouts/slideLayout375.xml"/><Relationship Id="rId2" Type="http://schemas.openxmlformats.org/officeDocument/2006/relationships/slideLayout" Target="../slideLayouts/slideLayout339.xml"/><Relationship Id="rId16" Type="http://schemas.openxmlformats.org/officeDocument/2006/relationships/slideLayout" Target="../slideLayouts/slideLayout353.xml"/><Relationship Id="rId20" Type="http://schemas.openxmlformats.org/officeDocument/2006/relationships/slideLayout" Target="../slideLayouts/slideLayout357.xml"/><Relationship Id="rId29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38.xml"/><Relationship Id="rId6" Type="http://schemas.openxmlformats.org/officeDocument/2006/relationships/slideLayout" Target="../slideLayouts/slideLayout343.xml"/><Relationship Id="rId11" Type="http://schemas.openxmlformats.org/officeDocument/2006/relationships/slideLayout" Target="../slideLayouts/slideLayout348.xml"/><Relationship Id="rId24" Type="http://schemas.openxmlformats.org/officeDocument/2006/relationships/slideLayout" Target="../slideLayouts/slideLayout361.xml"/><Relationship Id="rId32" Type="http://schemas.openxmlformats.org/officeDocument/2006/relationships/slideLayout" Target="../slideLayouts/slideLayout369.xml"/><Relationship Id="rId37" Type="http://schemas.openxmlformats.org/officeDocument/2006/relationships/slideLayout" Target="../slideLayouts/slideLayout37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342.xml"/><Relationship Id="rId15" Type="http://schemas.openxmlformats.org/officeDocument/2006/relationships/slideLayout" Target="../slideLayouts/slideLayout352.xml"/><Relationship Id="rId23" Type="http://schemas.openxmlformats.org/officeDocument/2006/relationships/slideLayout" Target="../slideLayouts/slideLayout360.xml"/><Relationship Id="rId28" Type="http://schemas.openxmlformats.org/officeDocument/2006/relationships/slideLayout" Target="../slideLayouts/slideLayout365.xml"/><Relationship Id="rId36" Type="http://schemas.openxmlformats.org/officeDocument/2006/relationships/slideLayout" Target="../slideLayouts/slideLayout373.xml"/><Relationship Id="rId10" Type="http://schemas.openxmlformats.org/officeDocument/2006/relationships/slideLayout" Target="../slideLayouts/slideLayout347.xml"/><Relationship Id="rId19" Type="http://schemas.openxmlformats.org/officeDocument/2006/relationships/slideLayout" Target="../slideLayouts/slideLayout356.xml"/><Relationship Id="rId31" Type="http://schemas.openxmlformats.org/officeDocument/2006/relationships/slideLayout" Target="../slideLayouts/slideLayout368.xml"/><Relationship Id="rId4" Type="http://schemas.openxmlformats.org/officeDocument/2006/relationships/slideLayout" Target="../slideLayouts/slideLayout341.xml"/><Relationship Id="rId9" Type="http://schemas.openxmlformats.org/officeDocument/2006/relationships/slideLayout" Target="../slideLayouts/slideLayout346.xml"/><Relationship Id="rId14" Type="http://schemas.openxmlformats.org/officeDocument/2006/relationships/slideLayout" Target="../slideLayouts/slideLayout351.xml"/><Relationship Id="rId22" Type="http://schemas.openxmlformats.org/officeDocument/2006/relationships/slideLayout" Target="../slideLayouts/slideLayout359.xml"/><Relationship Id="rId27" Type="http://schemas.openxmlformats.org/officeDocument/2006/relationships/slideLayout" Target="../slideLayouts/slideLayout364.xml"/><Relationship Id="rId30" Type="http://schemas.openxmlformats.org/officeDocument/2006/relationships/slideLayout" Target="../slideLayouts/slideLayout367.xml"/><Relationship Id="rId35" Type="http://schemas.openxmlformats.org/officeDocument/2006/relationships/slideLayout" Target="../slideLayouts/slideLayout372.xml"/><Relationship Id="rId8" Type="http://schemas.openxmlformats.org/officeDocument/2006/relationships/slideLayout" Target="../slideLayouts/slideLayout345.xml"/><Relationship Id="rId3" Type="http://schemas.openxmlformats.org/officeDocument/2006/relationships/slideLayout" Target="../slideLayouts/slideLayout3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FD7843-B76B-46C5-A581-0CD141644A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503351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360" imgH="360" progId="">
                  <p:embed/>
                </p:oleObj>
              </mc:Choice>
              <mc:Fallback>
                <p:oleObj name="think-cell Slide" r:id="rId49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FD7843-B76B-46C5-A581-0CD141644A8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6229826-7836-4F83-9678-46ABDA4A4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">
            <a:extLst>
              <a:ext uri="{FF2B5EF4-FFF2-40B4-BE49-F238E27FC236}">
                <a16:creationId xmlns:a16="http://schemas.microsoft.com/office/drawing/2014/main" id="{34C97E0C-41A9-416F-9951-740DC99EB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8A125B4A-1FC4-46C0-9E45-40396BC08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1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912B1AE4-00D0-4A57-B7D8-7EF007D34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2E47E134-7994-4DFF-A19B-0F7BFBD45BA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4617" r:id="rId4"/>
    <p:sldLayoutId id="2147483653" r:id="rId5"/>
    <p:sldLayoutId id="2147484624" r:id="rId6"/>
    <p:sldLayoutId id="2147483655" r:id="rId7"/>
    <p:sldLayoutId id="2147484633" r:id="rId8"/>
    <p:sldLayoutId id="2147484634" r:id="rId9"/>
    <p:sldLayoutId id="2147483658" r:id="rId10"/>
    <p:sldLayoutId id="2147483659" r:id="rId11"/>
    <p:sldLayoutId id="2147484604" r:id="rId12"/>
    <p:sldLayoutId id="2147484632" r:id="rId13"/>
    <p:sldLayoutId id="2147484609" r:id="rId14"/>
    <p:sldLayoutId id="2147484610" r:id="rId15"/>
    <p:sldLayoutId id="2147483664" r:id="rId16"/>
    <p:sldLayoutId id="2147483665" r:id="rId17"/>
    <p:sldLayoutId id="2147484613" r:id="rId18"/>
    <p:sldLayoutId id="2147483667" r:id="rId19"/>
    <p:sldLayoutId id="2147484615" r:id="rId20"/>
    <p:sldLayoutId id="2147484616" r:id="rId21"/>
    <p:sldLayoutId id="2147484620" r:id="rId22"/>
    <p:sldLayoutId id="2147484621" r:id="rId23"/>
    <p:sldLayoutId id="2147484623" r:id="rId24"/>
    <p:sldLayoutId id="2147483674" r:id="rId25"/>
    <p:sldLayoutId id="2147483675" r:id="rId26"/>
    <p:sldLayoutId id="2147484636" r:id="rId27"/>
    <p:sldLayoutId id="2147484637" r:id="rId28"/>
    <p:sldLayoutId id="2147483678" r:id="rId29"/>
    <p:sldLayoutId id="2147484625" r:id="rId30"/>
    <p:sldLayoutId id="2147483680" r:id="rId31"/>
    <p:sldLayoutId id="2147483681" r:id="rId32"/>
    <p:sldLayoutId id="2147483682" r:id="rId33"/>
    <p:sldLayoutId id="2147483683" r:id="rId34"/>
    <p:sldLayoutId id="2147483696" r:id="rId35"/>
    <p:sldLayoutId id="2147483684" r:id="rId36"/>
    <p:sldLayoutId id="2147484611" r:id="rId37"/>
    <p:sldLayoutId id="2147484612" r:id="rId38"/>
    <p:sldLayoutId id="2147483687" r:id="rId39"/>
    <p:sldLayoutId id="2147484626" r:id="rId40"/>
    <p:sldLayoutId id="2147484627" r:id="rId41"/>
    <p:sldLayoutId id="2147484630" r:id="rId42"/>
    <p:sldLayoutId id="2147484631" r:id="rId43"/>
    <p:sldLayoutId id="2147484628" r:id="rId44"/>
    <p:sldLayoutId id="2147484606" r:id="rId45"/>
    <p:sldLayoutId id="2147484629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40" userDrawn="1">
          <p15:clr>
            <a:srgbClr val="F26B43"/>
          </p15:clr>
        </p15:guide>
        <p15:guide id="5" orient="horz" pos="432" userDrawn="1">
          <p15:clr>
            <a:srgbClr val="F26B43"/>
          </p15:clr>
        </p15:guide>
        <p15:guide id="6" orient="horz" pos="3840">
          <p15:clr>
            <a:srgbClr val="F26B43"/>
          </p15:clr>
        </p15:guide>
        <p15:guide id="11" orient="horz" pos="4104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FD7843-B76B-46C5-A581-0CD141644A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360" imgH="360" progId="">
                  <p:embed/>
                </p:oleObj>
              </mc:Choice>
              <mc:Fallback>
                <p:oleObj name="think-cell Slide" r:id="rId50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FD7843-B76B-46C5-A581-0CD141644A8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6229826-7836-4F83-9678-46ABDA4A4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">
            <a:extLst>
              <a:ext uri="{FF2B5EF4-FFF2-40B4-BE49-F238E27FC236}">
                <a16:creationId xmlns:a16="http://schemas.microsoft.com/office/drawing/2014/main" id="{34C97E0C-41A9-416F-9951-740DC99EB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8A125B4A-1FC4-46C0-9E45-40396BC08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912B1AE4-00D0-4A57-B7D8-7EF007D34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2E47E134-7994-4DFF-A19B-0F7BFBD45BA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63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5" r:id="rId1"/>
    <p:sldLayoutId id="2147484506" r:id="rId2"/>
    <p:sldLayoutId id="2147484507" r:id="rId3"/>
    <p:sldLayoutId id="2147484508" r:id="rId4"/>
    <p:sldLayoutId id="2147484509" r:id="rId5"/>
    <p:sldLayoutId id="2147484510" r:id="rId6"/>
    <p:sldLayoutId id="2147484511" r:id="rId7"/>
    <p:sldLayoutId id="2147484512" r:id="rId8"/>
    <p:sldLayoutId id="2147484513" r:id="rId9"/>
    <p:sldLayoutId id="2147484514" r:id="rId10"/>
    <p:sldLayoutId id="2147484515" r:id="rId11"/>
    <p:sldLayoutId id="2147484516" r:id="rId12"/>
    <p:sldLayoutId id="2147484517" r:id="rId13"/>
    <p:sldLayoutId id="2147484518" r:id="rId14"/>
    <p:sldLayoutId id="2147484519" r:id="rId15"/>
    <p:sldLayoutId id="2147484520" r:id="rId16"/>
    <p:sldLayoutId id="2147484521" r:id="rId17"/>
    <p:sldLayoutId id="2147484522" r:id="rId18"/>
    <p:sldLayoutId id="2147484523" r:id="rId19"/>
    <p:sldLayoutId id="2147484524" r:id="rId20"/>
    <p:sldLayoutId id="2147484525" r:id="rId21"/>
    <p:sldLayoutId id="2147484526" r:id="rId22"/>
    <p:sldLayoutId id="2147484527" r:id="rId23"/>
    <p:sldLayoutId id="2147484528" r:id="rId24"/>
    <p:sldLayoutId id="2147484529" r:id="rId25"/>
    <p:sldLayoutId id="2147484530" r:id="rId26"/>
    <p:sldLayoutId id="2147484531" r:id="rId27"/>
    <p:sldLayoutId id="2147484532" r:id="rId28"/>
    <p:sldLayoutId id="2147484533" r:id="rId29"/>
    <p:sldLayoutId id="2147484534" r:id="rId30"/>
    <p:sldLayoutId id="2147484535" r:id="rId31"/>
    <p:sldLayoutId id="2147484536" r:id="rId32"/>
    <p:sldLayoutId id="2147484537" r:id="rId33"/>
    <p:sldLayoutId id="2147484538" r:id="rId34"/>
    <p:sldLayoutId id="2147484539" r:id="rId35"/>
    <p:sldLayoutId id="2147484540" r:id="rId36"/>
    <p:sldLayoutId id="2147484541" r:id="rId37"/>
    <p:sldLayoutId id="2147484542" r:id="rId38"/>
    <p:sldLayoutId id="2147484543" r:id="rId39"/>
    <p:sldLayoutId id="2147484544" r:id="rId40"/>
    <p:sldLayoutId id="2147484545" r:id="rId41"/>
    <p:sldLayoutId id="2147484546" r:id="rId42"/>
    <p:sldLayoutId id="2147484547" r:id="rId43"/>
    <p:sldLayoutId id="2147484548" r:id="rId44"/>
    <p:sldLayoutId id="2147484549" r:id="rId45"/>
    <p:sldLayoutId id="2147484550" r:id="rId46"/>
    <p:sldLayoutId id="2147484551" r:id="rId4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0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0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5285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  <p:sldLayoutId id="2147484558" r:id="rId6"/>
    <p:sldLayoutId id="2147484559" r:id="rId7"/>
    <p:sldLayoutId id="2147484560" r:id="rId8"/>
    <p:sldLayoutId id="2147484561" r:id="rId9"/>
    <p:sldLayoutId id="2147484562" r:id="rId10"/>
    <p:sldLayoutId id="2147484563" r:id="rId11"/>
    <p:sldLayoutId id="2147484564" r:id="rId12"/>
    <p:sldLayoutId id="2147484565" r:id="rId13"/>
    <p:sldLayoutId id="2147484566" r:id="rId14"/>
    <p:sldLayoutId id="2147484567" r:id="rId15"/>
    <p:sldLayoutId id="2147484568" r:id="rId16"/>
    <p:sldLayoutId id="2147484569" r:id="rId17"/>
    <p:sldLayoutId id="2147484570" r:id="rId18"/>
    <p:sldLayoutId id="2147484571" r:id="rId19"/>
    <p:sldLayoutId id="2147484572" r:id="rId20"/>
    <p:sldLayoutId id="2147484573" r:id="rId21"/>
    <p:sldLayoutId id="2147484574" r:id="rId22"/>
    <p:sldLayoutId id="2147484575" r:id="rId23"/>
    <p:sldLayoutId id="2147484576" r:id="rId24"/>
    <p:sldLayoutId id="2147484577" r:id="rId25"/>
    <p:sldLayoutId id="2147484578" r:id="rId26"/>
    <p:sldLayoutId id="2147484579" r:id="rId27"/>
    <p:sldLayoutId id="2147484580" r:id="rId28"/>
    <p:sldLayoutId id="2147484581" r:id="rId29"/>
    <p:sldLayoutId id="2147484582" r:id="rId30"/>
    <p:sldLayoutId id="2147484583" r:id="rId31"/>
    <p:sldLayoutId id="2147484584" r:id="rId32"/>
    <p:sldLayoutId id="2147484585" r:id="rId33"/>
    <p:sldLayoutId id="2147484586" r:id="rId34"/>
    <p:sldLayoutId id="2147484587" r:id="rId35"/>
    <p:sldLayoutId id="2147484588" r:id="rId36"/>
    <p:sldLayoutId id="2147484589" r:id="rId37"/>
    <p:sldLayoutId id="2147484590" r:id="rId38"/>
    <p:sldLayoutId id="2147484591" r:id="rId39"/>
    <p:sldLayoutId id="2147484592" r:id="rId40"/>
    <p:sldLayoutId id="2147484593" r:id="rId41"/>
    <p:sldLayoutId id="2147484594" r:id="rId42"/>
    <p:sldLayoutId id="2147484595" r:id="rId43"/>
    <p:sldLayoutId id="2147484596" r:id="rId44"/>
    <p:sldLayoutId id="2147484597" r:id="rId45"/>
    <p:sldLayoutId id="2147484598" r:id="rId46"/>
    <p:sldLayoutId id="2147484599" r:id="rId47"/>
    <p:sldLayoutId id="2147484600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6229826-7836-4F83-9678-46ABDA4A4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">
            <a:extLst>
              <a:ext uri="{FF2B5EF4-FFF2-40B4-BE49-F238E27FC236}">
                <a16:creationId xmlns:a16="http://schemas.microsoft.com/office/drawing/2014/main" id="{34C97E0C-41A9-416F-9951-740DC99EB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8A125B4A-1FC4-46C0-9E45-40396BC08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912B1AE4-00D0-4A57-B7D8-7EF007D34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2E47E134-7994-4DFF-A19B-0F7BFBD45BA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213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8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HPE Confidential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C4EB9F-3DFF-1C88-D16A-23EB1E3A2943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335808" y="3335808"/>
            <a:ext cx="6858000" cy="18638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6DF61D2-F5D5-6F3E-9DB3-445BB8244EA6}"/>
              </a:ext>
            </a:extLst>
          </p:cNvPr>
          <p:cNvSpPr txBox="1"/>
          <p:nvPr userDrawn="1"/>
        </p:nvSpPr>
        <p:spPr>
          <a:xfrm>
            <a:off x="5057274" y="6241110"/>
            <a:ext cx="2077452" cy="29857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600" b="1"/>
              <a:t>HPE Tech Con </a:t>
            </a:r>
            <a:r>
              <a:rPr lang="en-US" sz="1600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62" r:id="rId2"/>
    <p:sldLayoutId id="2147483695" r:id="rId3"/>
    <p:sldLayoutId id="2147483702" r:id="rId4"/>
    <p:sldLayoutId id="2147483701" r:id="rId5"/>
    <p:sldLayoutId id="2147483661" r:id="rId6"/>
    <p:sldLayoutId id="2147483662" r:id="rId7"/>
    <p:sldLayoutId id="2147483663" r:id="rId8"/>
    <p:sldLayoutId id="2147483685" r:id="rId9"/>
    <p:sldLayoutId id="2147483686" r:id="rId10"/>
    <p:sldLayoutId id="2147483666" r:id="rId11"/>
    <p:sldLayoutId id="2147483756" r:id="rId12"/>
    <p:sldLayoutId id="2147483668" r:id="rId13"/>
    <p:sldLayoutId id="2147483669" r:id="rId14"/>
    <p:sldLayoutId id="2147483652" r:id="rId15"/>
    <p:sldLayoutId id="2147483698" r:id="rId16"/>
    <p:sldLayoutId id="2147483755" r:id="rId17"/>
    <p:sldLayoutId id="2147483670" r:id="rId18"/>
    <p:sldLayoutId id="2147483671" r:id="rId19"/>
    <p:sldLayoutId id="2147483699" r:id="rId20"/>
    <p:sldLayoutId id="2147483672" r:id="rId21"/>
    <p:sldLayoutId id="2147483673" r:id="rId22"/>
    <p:sldLayoutId id="2147483654" r:id="rId23"/>
    <p:sldLayoutId id="2147483679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56" r:id="rId32"/>
    <p:sldLayoutId id="2147483657" r:id="rId33"/>
    <p:sldLayoutId id="2147483758" r:id="rId34"/>
    <p:sldLayoutId id="2147483697" r:id="rId35"/>
    <p:sldLayoutId id="2147483676" r:id="rId36"/>
    <p:sldLayoutId id="2147483677" r:id="rId37"/>
    <p:sldLayoutId id="2147483706" r:id="rId38"/>
    <p:sldLayoutId id="2147483707" r:id="rId39"/>
    <p:sldLayoutId id="2147483704" r:id="rId40"/>
    <p:sldLayoutId id="2147483703" r:id="rId41"/>
    <p:sldLayoutId id="2147483763" r:id="rId42"/>
    <p:sldLayoutId id="2147483757" r:id="rId43"/>
    <p:sldLayoutId id="2147483700" r:id="rId44"/>
    <p:sldLayoutId id="2147483759" r:id="rId45"/>
    <p:sldLayoutId id="2147483760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 userDrawn="1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23" userDrawn="1">
          <p15:clr>
            <a:srgbClr val="F26B43"/>
          </p15:clr>
        </p15:guide>
        <p15:guide id="5" orient="horz" pos="432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7" orient="horz" pos="1440" userDrawn="1">
          <p15:clr>
            <a:srgbClr val="F26B43"/>
          </p15:clr>
        </p15:guide>
        <p15:guide id="8" orient="horz" pos="2880" userDrawn="1">
          <p15:clr>
            <a:srgbClr val="F26B43"/>
          </p15:clr>
        </p15:guide>
        <p15:guide id="9" pos="2568" userDrawn="1">
          <p15:clr>
            <a:srgbClr val="F26B43"/>
          </p15:clr>
        </p15:guide>
        <p15:guide id="10" pos="5112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0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40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40"/>
                </a:buBlip>
              </a:pPr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41126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644" r:id="rId2"/>
    <p:sldLayoutId id="2147484608" r:id="rId3"/>
    <p:sldLayoutId id="2147484607" r:id="rId4"/>
    <p:sldLayoutId id="2147484641" r:id="rId5"/>
    <p:sldLayoutId id="2147484640" r:id="rId6"/>
    <p:sldLayoutId id="2147483705" r:id="rId7"/>
    <p:sldLayoutId id="2147484638" r:id="rId8"/>
    <p:sldLayoutId id="2147484639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  <p:sldLayoutId id="2147483732" r:id="rId34"/>
    <p:sldLayoutId id="2147483733" r:id="rId35"/>
    <p:sldLayoutId id="2147483734" r:id="rId36"/>
    <p:sldLayoutId id="2147483735" r:id="rId37"/>
    <p:sldLayoutId id="2147483736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FD7843-B76B-46C5-A581-0CD141644A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360" imgH="360" progId="">
                  <p:embed/>
                </p:oleObj>
              </mc:Choice>
              <mc:Fallback>
                <p:oleObj name="think-cell Slide" r:id="rId50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FD7843-B76B-46C5-A581-0CD141644A8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6229826-7836-4F83-9678-46ABDA4A4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">
            <a:extLst>
              <a:ext uri="{FF2B5EF4-FFF2-40B4-BE49-F238E27FC236}">
                <a16:creationId xmlns:a16="http://schemas.microsoft.com/office/drawing/2014/main" id="{34C97E0C-41A9-416F-9951-740DC99EB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8A125B4A-1FC4-46C0-9E45-40396BC08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2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912B1AE4-00D0-4A57-B7D8-7EF007D34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2E47E134-7994-4DFF-A19B-0F7BFBD45BA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377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4619" r:id="rId18"/>
    <p:sldLayoutId id="2147484614" r:id="rId19"/>
    <p:sldLayoutId id="2147484643" r:id="rId20"/>
    <p:sldLayoutId id="2147484635" r:id="rId21"/>
    <p:sldLayoutId id="2147484645" r:id="rId22"/>
    <p:sldLayoutId id="2147484646" r:id="rId23"/>
    <p:sldLayoutId id="2147483761" r:id="rId24"/>
    <p:sldLayoutId id="2147484605" r:id="rId25"/>
    <p:sldLayoutId id="2147484642" r:id="rId26"/>
    <p:sldLayoutId id="2147483764" r:id="rId27"/>
    <p:sldLayoutId id="2147483765" r:id="rId28"/>
    <p:sldLayoutId id="2147483766" r:id="rId29"/>
    <p:sldLayoutId id="2147483767" r:id="rId30"/>
    <p:sldLayoutId id="2147483768" r:id="rId31"/>
    <p:sldLayoutId id="2147483769" r:id="rId32"/>
    <p:sldLayoutId id="2147483770" r:id="rId33"/>
    <p:sldLayoutId id="2147483771" r:id="rId34"/>
    <p:sldLayoutId id="2147483772" r:id="rId35"/>
    <p:sldLayoutId id="2147483773" r:id="rId36"/>
    <p:sldLayoutId id="2147483774" r:id="rId37"/>
    <p:sldLayoutId id="2147483775" r:id="rId38"/>
    <p:sldLayoutId id="2147483776" r:id="rId39"/>
    <p:sldLayoutId id="2147483777" r:id="rId40"/>
    <p:sldLayoutId id="2147483778" r:id="rId41"/>
    <p:sldLayoutId id="2147483779" r:id="rId42"/>
    <p:sldLayoutId id="2147483780" r:id="rId43"/>
    <p:sldLayoutId id="2147483781" r:id="rId44"/>
    <p:sldLayoutId id="2147483782" r:id="rId45"/>
    <p:sldLayoutId id="2147483783" r:id="rId46"/>
    <p:sldLayoutId id="2147483784" r:id="rId4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0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6229826-7836-4F83-9678-46ABDA4A4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itle Placeholder">
            <a:extLst>
              <a:ext uri="{FF2B5EF4-FFF2-40B4-BE49-F238E27FC236}">
                <a16:creationId xmlns:a16="http://schemas.microsoft.com/office/drawing/2014/main" id="{34C97E0C-41A9-416F-9951-740DC99EB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8A125B4A-1FC4-46C0-9E45-40396BC08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1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912B1AE4-00D0-4A57-B7D8-7EF007D34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lang="en-GB" sz="1200" b="0" i="0" u="none" strike="noStrike" smtClean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  <a:endParaRPr>
              <a:solidFill>
                <a:srgbClr val="787871"/>
              </a:solidFill>
            </a:endParaRPr>
          </a:p>
        </p:txBody>
      </p:sp>
      <p:pic>
        <p:nvPicPr>
          <p:cNvPr id="9" name="Picture 8" descr="Shape, background pattern, rectangle&#10;&#10;Description automatically generated">
            <a:extLst>
              <a:ext uri="{FF2B5EF4-FFF2-40B4-BE49-F238E27FC236}">
                <a16:creationId xmlns:a16="http://schemas.microsoft.com/office/drawing/2014/main" id="{738FC612-EC5A-9242-8CD9-FCC0B205C82A}"/>
              </a:ext>
            </a:extLst>
          </p:cNvPr>
          <p:cNvPicPr>
            <a:picLocks noChangeAspect="1"/>
          </p:cNvPicPr>
          <p:nvPr userDrawn="1"/>
        </p:nvPicPr>
        <p:blipFill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4946"/>
            <a:ext cx="951931" cy="275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720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  <p:sldLayoutId id="2147483801" r:id="rId16"/>
    <p:sldLayoutId id="2147483802" r:id="rId17"/>
    <p:sldLayoutId id="2147483803" r:id="rId18"/>
    <p:sldLayoutId id="2147483804" r:id="rId19"/>
    <p:sldLayoutId id="2147483805" r:id="rId20"/>
    <p:sldLayoutId id="2147483806" r:id="rId21"/>
    <p:sldLayoutId id="2147483807" r:id="rId22"/>
    <p:sldLayoutId id="2147483808" r:id="rId23"/>
    <p:sldLayoutId id="2147483809" r:id="rId24"/>
    <p:sldLayoutId id="2147483810" r:id="rId25"/>
    <p:sldLayoutId id="2147483811" r:id="rId26"/>
    <p:sldLayoutId id="2147483812" r:id="rId27"/>
    <p:sldLayoutId id="2147483813" r:id="rId28"/>
    <p:sldLayoutId id="2147483814" r:id="rId29"/>
    <p:sldLayoutId id="2147483815" r:id="rId30"/>
    <p:sldLayoutId id="2147483816" r:id="rId31"/>
    <p:sldLayoutId id="2147483817" r:id="rId32"/>
    <p:sldLayoutId id="2147483818" r:id="rId33"/>
    <p:sldLayoutId id="2147483819" r:id="rId34"/>
    <p:sldLayoutId id="2147483820" r:id="rId35"/>
    <p:sldLayoutId id="2147483821" r:id="rId36"/>
    <p:sldLayoutId id="2147483822" r:id="rId37"/>
    <p:sldLayoutId id="2147483823" r:id="rId38"/>
    <p:sldLayoutId id="2147483824" r:id="rId39"/>
    <p:sldLayoutId id="2147483825" r:id="rId40"/>
    <p:sldLayoutId id="2147483826" r:id="rId41"/>
    <p:sldLayoutId id="2147483827" r:id="rId42"/>
    <p:sldLayoutId id="2147483828" r:id="rId43"/>
    <p:sldLayoutId id="2147483829" r:id="rId44"/>
    <p:sldLayoutId id="2147483830" r:id="rId45"/>
    <p:sldLayoutId id="2147483831" r:id="rId46"/>
    <p:sldLayoutId id="2147483832" r:id="rId47"/>
    <p:sldLayoutId id="2147483833" r:id="rId48"/>
    <p:sldLayoutId id="2147483834" r:id="rId4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36229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  <p:sldLayoutId id="2147483955" r:id="rId24"/>
    <p:sldLayoutId id="2147483956" r:id="rId25"/>
    <p:sldLayoutId id="2147483957" r:id="rId26"/>
    <p:sldLayoutId id="2147483958" r:id="rId27"/>
    <p:sldLayoutId id="2147483959" r:id="rId28"/>
    <p:sldLayoutId id="2147483960" r:id="rId29"/>
    <p:sldLayoutId id="2147483961" r:id="rId30"/>
    <p:sldLayoutId id="2147483962" r:id="rId31"/>
    <p:sldLayoutId id="2147483963" r:id="rId32"/>
    <p:sldLayoutId id="2147483964" r:id="rId33"/>
    <p:sldLayoutId id="2147483965" r:id="rId34"/>
    <p:sldLayoutId id="2147483966" r:id="rId35"/>
    <p:sldLayoutId id="2147483967" r:id="rId36"/>
    <p:sldLayoutId id="2147483968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6229826-7836-4F83-9678-46ABDA4A4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">
            <a:extLst>
              <a:ext uri="{FF2B5EF4-FFF2-40B4-BE49-F238E27FC236}">
                <a16:creationId xmlns:a16="http://schemas.microsoft.com/office/drawing/2014/main" id="{34C97E0C-41A9-416F-9951-740DC99EB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8A125B4A-1FC4-46C0-9E45-40396BC08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0"/>
              </a:buBlip>
              <a:defRPr sz="2000" kern="1200" cap="all" normalizeH="0" baseline="10000">
                <a:solidFill>
                  <a:schemeClr val="bg2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912B1AE4-00D0-4A57-B7D8-7EF007D34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2E47E134-7994-4DFF-A19B-0F7BFBD45BA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375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7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47251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5" r:id="rId17"/>
    <p:sldLayoutId id="2147484036" r:id="rId18"/>
    <p:sldLayoutId id="2147484037" r:id="rId19"/>
    <p:sldLayoutId id="2147484038" r:id="rId20"/>
    <p:sldLayoutId id="2147484039" r:id="rId21"/>
    <p:sldLayoutId id="2147484040" r:id="rId22"/>
    <p:sldLayoutId id="2147484041" r:id="rId23"/>
    <p:sldLayoutId id="2147484042" r:id="rId24"/>
    <p:sldLayoutId id="2147484043" r:id="rId25"/>
    <p:sldLayoutId id="2147484044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  <p:sldLayoutId id="2147484051" r:id="rId33"/>
    <p:sldLayoutId id="2147484052" r:id="rId34"/>
    <p:sldLayoutId id="2147484053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39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769719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3" r:id="rId9"/>
    <p:sldLayoutId id="2147484304" r:id="rId10"/>
    <p:sldLayoutId id="2147484305" r:id="rId11"/>
    <p:sldLayoutId id="2147484306" r:id="rId12"/>
    <p:sldLayoutId id="2147484307" r:id="rId13"/>
    <p:sldLayoutId id="2147484308" r:id="rId14"/>
    <p:sldLayoutId id="2147484309" r:id="rId15"/>
    <p:sldLayoutId id="2147484310" r:id="rId16"/>
    <p:sldLayoutId id="2147484311" r:id="rId17"/>
    <p:sldLayoutId id="2147484312" r:id="rId18"/>
    <p:sldLayoutId id="2147484313" r:id="rId19"/>
    <p:sldLayoutId id="2147484314" r:id="rId20"/>
    <p:sldLayoutId id="2147484315" r:id="rId21"/>
    <p:sldLayoutId id="2147484316" r:id="rId22"/>
    <p:sldLayoutId id="2147484317" r:id="rId23"/>
    <p:sldLayoutId id="2147484318" r:id="rId24"/>
    <p:sldLayoutId id="2147484319" r:id="rId25"/>
    <p:sldLayoutId id="2147484320" r:id="rId26"/>
    <p:sldLayoutId id="2147484321" r:id="rId27"/>
    <p:sldLayoutId id="2147484322" r:id="rId28"/>
    <p:sldLayoutId id="2147484323" r:id="rId29"/>
    <p:sldLayoutId id="2147484324" r:id="rId30"/>
    <p:sldLayoutId id="2147484325" r:id="rId31"/>
    <p:sldLayoutId id="2147484326" r:id="rId32"/>
    <p:sldLayoutId id="2147484327" r:id="rId33"/>
    <p:sldLayoutId id="2147484328" r:id="rId34"/>
    <p:sldLayoutId id="2147484329" r:id="rId35"/>
    <p:sldLayoutId id="2147484330" r:id="rId36"/>
    <p:sldLayoutId id="2147484331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0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0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29991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431" r:id="rId3"/>
    <p:sldLayoutId id="2147484432" r:id="rId4"/>
    <p:sldLayoutId id="2147484433" r:id="rId5"/>
    <p:sldLayoutId id="2147484434" r:id="rId6"/>
    <p:sldLayoutId id="2147484435" r:id="rId7"/>
    <p:sldLayoutId id="2147484436" r:id="rId8"/>
    <p:sldLayoutId id="2147484437" r:id="rId9"/>
    <p:sldLayoutId id="2147484438" r:id="rId10"/>
    <p:sldLayoutId id="2147484439" r:id="rId11"/>
    <p:sldLayoutId id="2147484440" r:id="rId12"/>
    <p:sldLayoutId id="2147484441" r:id="rId13"/>
    <p:sldLayoutId id="2147484442" r:id="rId14"/>
    <p:sldLayoutId id="2147484443" r:id="rId15"/>
    <p:sldLayoutId id="2147484444" r:id="rId16"/>
    <p:sldLayoutId id="2147484445" r:id="rId17"/>
    <p:sldLayoutId id="2147484446" r:id="rId18"/>
    <p:sldLayoutId id="2147484447" r:id="rId19"/>
    <p:sldLayoutId id="2147484448" r:id="rId20"/>
    <p:sldLayoutId id="2147484449" r:id="rId21"/>
    <p:sldLayoutId id="2147484450" r:id="rId22"/>
    <p:sldLayoutId id="2147484451" r:id="rId23"/>
    <p:sldLayoutId id="2147484452" r:id="rId24"/>
    <p:sldLayoutId id="2147484453" r:id="rId25"/>
    <p:sldLayoutId id="2147484454" r:id="rId26"/>
    <p:sldLayoutId id="2147484455" r:id="rId27"/>
    <p:sldLayoutId id="2147484456" r:id="rId28"/>
    <p:sldLayoutId id="2147484457" r:id="rId29"/>
    <p:sldLayoutId id="2147484458" r:id="rId30"/>
    <p:sldLayoutId id="2147484459" r:id="rId31"/>
    <p:sldLayoutId id="2147484460" r:id="rId32"/>
    <p:sldLayoutId id="2147484461" r:id="rId33"/>
    <p:sldLayoutId id="2147484462" r:id="rId34"/>
    <p:sldLayoutId id="2147484463" r:id="rId35"/>
    <p:sldLayoutId id="2147484464" r:id="rId36"/>
    <p:sldLayoutId id="2147484465" r:id="rId37"/>
    <p:sldLayoutId id="2147484466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3.xml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83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3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5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svg"/><Relationship Id="rId9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5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3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3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9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9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90.xml"/><Relationship Id="rId5" Type="http://schemas.openxmlformats.org/officeDocument/2006/relationships/image" Target="../media/image2.png"/><Relationship Id="rId4" Type="http://schemas.openxmlformats.org/officeDocument/2006/relationships/image" Target="../media/image3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9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>
            <a:extLst>
              <a:ext uri="{FF2B5EF4-FFF2-40B4-BE49-F238E27FC236}">
                <a16:creationId xmlns:a16="http://schemas.microsoft.com/office/drawing/2014/main" id="{F05E50B2-AB22-4A7A-83F4-EBD2780391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120" y="5571989"/>
            <a:ext cx="5489578" cy="339214"/>
          </a:xfrm>
        </p:spPr>
        <p:txBody>
          <a:bodyPr/>
          <a:lstStyle/>
          <a:p>
            <a:r>
              <a:rPr lang="en-US" b="1"/>
              <a:t>April 21</a:t>
            </a:r>
            <a:r>
              <a:rPr lang="en-US" b="1" baseline="30000"/>
              <a:t>st</a:t>
            </a:r>
            <a:r>
              <a:rPr lang="en-US" b="1"/>
              <a:t>, 2023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940F81D8-5C7D-4F33-A461-CA45B169FF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6120" y="4115672"/>
            <a:ext cx="11835446" cy="438912"/>
          </a:xfrm>
        </p:spPr>
        <p:txBody>
          <a:bodyPr vert="horz" lIns="91440" tIns="91440" rIns="91440" bIns="91440" rtlCol="0" anchor="t">
            <a:noAutofit/>
          </a:bodyPr>
          <a:lstStyle/>
          <a:p>
            <a:pPr fontAlgn="base"/>
            <a:r>
              <a:rPr lang="en-US" sz="2000" b="1" i="0" u="none" strike="noStrike" dirty="0">
                <a:effectLst/>
                <a:latin typeface="MetricHPE"/>
              </a:rPr>
              <a:t>Yogesh Choubey</a:t>
            </a:r>
            <a:r>
              <a:rPr lang="en-US" sz="2000" b="0" i="0" dirty="0">
                <a:effectLst/>
                <a:latin typeface="MetricHPE"/>
              </a:rPr>
              <a:t>​</a:t>
            </a:r>
            <a:r>
              <a:rPr lang="en-US" sz="2000" dirty="0">
                <a:latin typeface="Arial"/>
                <a:cs typeface="Arial"/>
              </a:rPr>
              <a:t>,  </a:t>
            </a:r>
            <a:r>
              <a:rPr lang="en-US" sz="2000" b="1" i="0" u="none" strike="noStrike" dirty="0">
                <a:effectLst/>
                <a:latin typeface="MetricHPE"/>
              </a:rPr>
              <a:t>Sriram Ravishankar,</a:t>
            </a:r>
            <a:r>
              <a:rPr lang="en-US" sz="3600" b="1" dirty="0">
                <a:latin typeface="Arial"/>
                <a:cs typeface="Arial"/>
              </a:rPr>
              <a:t> </a:t>
            </a:r>
            <a:r>
              <a:rPr lang="en-US" sz="2000" b="1" i="0" u="none" strike="noStrike" dirty="0">
                <a:effectLst/>
                <a:latin typeface="MetricHPE"/>
              </a:rPr>
              <a:t>Soumya RR,</a:t>
            </a:r>
            <a:r>
              <a:rPr lang="en-US" sz="2000" b="0" i="0" dirty="0">
                <a:effectLst/>
                <a:latin typeface="MetricHPE"/>
              </a:rPr>
              <a:t>​</a:t>
            </a:r>
            <a:r>
              <a:rPr lang="en-US" sz="3600" b="0" i="0" dirty="0">
                <a:effectLst/>
                <a:latin typeface="Arial"/>
                <a:cs typeface="Arial"/>
              </a:rPr>
              <a:t> </a:t>
            </a:r>
            <a:r>
              <a:rPr lang="en-US" sz="2000" b="1" i="0" u="none" strike="noStrike" dirty="0">
                <a:effectLst/>
                <a:latin typeface="MetricHPE"/>
              </a:rPr>
              <a:t>R Harish,</a:t>
            </a:r>
            <a:r>
              <a:rPr lang="en-US" sz="2000" b="1" dirty="0">
                <a:latin typeface="MetricHPE"/>
              </a:rPr>
              <a:t> </a:t>
            </a:r>
            <a:r>
              <a:rPr lang="en-US" sz="2000" b="1" i="0" u="none" strike="noStrike" dirty="0">
                <a:effectLst/>
                <a:latin typeface="MetricHPE"/>
              </a:rPr>
              <a:t> Archana G S , </a:t>
            </a:r>
            <a:r>
              <a:rPr lang="en-US" sz="2000" b="0" i="0" dirty="0">
                <a:effectLst/>
                <a:latin typeface="MetricHPE"/>
              </a:rPr>
              <a:t>​</a:t>
            </a:r>
            <a:r>
              <a:rPr lang="en-US" sz="2000" b="0" i="0" dirty="0">
                <a:effectLst/>
                <a:latin typeface="Arial"/>
                <a:cs typeface="Arial"/>
              </a:rPr>
              <a:t> </a:t>
            </a:r>
            <a:r>
              <a:rPr lang="en-US" sz="2000" b="1" i="0" u="none" strike="noStrike" dirty="0">
                <a:effectLst/>
                <a:latin typeface="MetricHPE"/>
              </a:rPr>
              <a:t>Anup Sahu Kumar,</a:t>
            </a:r>
            <a:r>
              <a:rPr lang="en-US" sz="3600" dirty="0">
                <a:latin typeface="Arial"/>
                <a:cs typeface="Arial"/>
              </a:rPr>
              <a:t> </a:t>
            </a:r>
            <a:endParaRPr lang="en-US" sz="3600" dirty="0">
              <a:latin typeface="Arial" panose="020B0604020202020204" pitchFamily="34" charset="0"/>
            </a:endParaRPr>
          </a:p>
          <a:p>
            <a:pPr fontAlgn="base"/>
            <a:r>
              <a:rPr lang="en-US" sz="2000" b="1" i="0" u="none" strike="noStrike" dirty="0" err="1">
                <a:effectLst/>
                <a:latin typeface="MetricHPE"/>
              </a:rPr>
              <a:t>Jinu</a:t>
            </a:r>
            <a:r>
              <a:rPr lang="en-US" sz="2000" b="1" i="0" u="none" strike="noStrike" dirty="0">
                <a:effectLst/>
                <a:latin typeface="MetricHPE"/>
              </a:rPr>
              <a:t> Jolly Mariam,</a:t>
            </a:r>
            <a:r>
              <a:rPr lang="en-US" sz="3600" b="1" i="0" u="none" strike="noStrike" dirty="0">
                <a:effectLst/>
                <a:latin typeface="Arial"/>
                <a:cs typeface="Arial"/>
              </a:rPr>
              <a:t> </a:t>
            </a:r>
            <a:r>
              <a:rPr lang="en-US" sz="2000" b="1" i="0" u="none" strike="noStrike" dirty="0">
                <a:effectLst/>
                <a:latin typeface="MetricHPE"/>
              </a:rPr>
              <a:t>Shiju C  &amp; </a:t>
            </a:r>
            <a:r>
              <a:rPr lang="en-US" sz="2000" b="0" i="0" dirty="0">
                <a:effectLst/>
                <a:latin typeface="MetricHPE"/>
              </a:rPr>
              <a:t>​ </a:t>
            </a:r>
            <a:r>
              <a:rPr lang="en-US" sz="2000" b="1" i="0" dirty="0">
                <a:effectLst/>
                <a:latin typeface="MetricHPE"/>
              </a:rPr>
              <a:t>S, Madhusoodhana Chari</a:t>
            </a:r>
            <a:endParaRPr lang="en-US" sz="3600" b="1" dirty="0">
              <a:latin typeface="MetricHPE"/>
              <a:cs typeface="Arial" panose="020B0604020202020204" pitchFamily="34" charset="0"/>
            </a:endParaRPr>
          </a:p>
          <a:p>
            <a:endParaRPr lang="en-US" sz="2000" b="0" i="0" dirty="0">
              <a:effectLst/>
              <a:latin typeface="MetricHPE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6D650731-F75D-4A00-8A26-A472193D3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747" y="1869197"/>
            <a:ext cx="11720740" cy="1905000"/>
          </a:xfrm>
        </p:spPr>
        <p:txBody>
          <a:bodyPr/>
          <a:lstStyle/>
          <a:p>
            <a:pPr algn="ctr"/>
            <a:r>
              <a:rPr lang="en-US" dirty="0"/>
              <a:t>Generative Adversarial Network (GAN) </a:t>
            </a:r>
            <a:br>
              <a:rPr lang="en-US" dirty="0"/>
            </a:br>
            <a:r>
              <a:rPr lang="en-US" dirty="0"/>
              <a:t>As A HPE </a:t>
            </a:r>
            <a:r>
              <a:rPr lang="en-US" dirty="0" err="1"/>
              <a:t>GreenLake</a:t>
            </a:r>
            <a:r>
              <a:rPr lang="en-US" dirty="0"/>
              <a:t> Service</a:t>
            </a:r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858929A1-E479-4363-A36E-66B1064CC2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0721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FA93B1-6B6E-90CC-8F97-DBE92D8BB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BRIEF INSIGHT INTO GA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4283A58-5161-2AE5-E85B-C504DB8DE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173289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349679-8B77-4AAF-9049-025CBA647F5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 dirty="0"/>
              <a:t>HPE Confidential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E22BF8A7-E37A-4DA3-B869-04D647B70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 ARCHITECTURE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14BDFB80-76C4-4709-BEEA-BD3B9CF11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11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167FA7-D463-3B8E-5583-565658FE7A82}"/>
              </a:ext>
            </a:extLst>
          </p:cNvPr>
          <p:cNvSpPr txBox="1"/>
          <p:nvPr/>
        </p:nvSpPr>
        <p:spPr>
          <a:xfrm>
            <a:off x="285743" y="965688"/>
            <a:ext cx="11841154" cy="2062103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pPr algn="just"/>
            <a:r>
              <a:rPr lang="en-US" sz="1600" dirty="0"/>
              <a:t>A generative adversarial network (GAN) has two parts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/>
              <a:t>The </a:t>
            </a:r>
            <a:r>
              <a:rPr lang="en-US" sz="1600" b="1" dirty="0"/>
              <a:t>Generator</a:t>
            </a:r>
            <a:r>
              <a:rPr lang="en-US" sz="1600" dirty="0"/>
              <a:t> learns to generate plausible data. These instances become negative training examples for the discriminator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/>
              <a:t>The </a:t>
            </a:r>
            <a:r>
              <a:rPr lang="en-US" sz="1600" b="1" dirty="0"/>
              <a:t>Discriminator</a:t>
            </a:r>
            <a:r>
              <a:rPr lang="en-US" sz="1600" dirty="0"/>
              <a:t> learns to distinguish the generator's fake data from real data. The discriminator penalizes the generator for producing implausible results and gets penalized for also confusing generated and real data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/>
              <a:t>Both the generator and the discriminator are neural networks. They are trained simultaneously and through backpropagation, the discriminator's classification provides a signal that the generator uses to update its weights for improving accuracy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C0C007-FD8F-4BBD-E51C-A834032A34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6482" y="2980688"/>
            <a:ext cx="7941816" cy="33211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0FC1D26-EB8E-47F1-A42E-2C308D892538}"/>
              </a:ext>
            </a:extLst>
          </p:cNvPr>
          <p:cNvSpPr txBox="1"/>
          <p:nvPr/>
        </p:nvSpPr>
        <p:spPr>
          <a:xfrm>
            <a:off x="2345184" y="5954074"/>
            <a:ext cx="7793114" cy="36646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sz="1000" dirty="0"/>
              <a:t>Image source - https://developers.google.com/machine-learning/gan/gan_structure</a:t>
            </a:r>
            <a:endParaRPr lang="en-GB" sz="1000" dirty="0" err="1"/>
          </a:p>
        </p:txBody>
      </p:sp>
    </p:spTree>
    <p:extLst>
      <p:ext uri="{BB962C8B-B14F-4D97-AF65-F5344CB8AC3E}">
        <p14:creationId xmlns:p14="http://schemas.microsoft.com/office/powerpoint/2010/main" val="254316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349679-8B77-4AAF-9049-025CBA647F5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HPE Confidential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E22BF8A7-E37A-4DA3-B869-04D647B70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14BDFB80-76C4-4709-BEEA-BD3B9CF11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12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167FA7-D463-3B8E-5583-565658FE7A82}"/>
              </a:ext>
            </a:extLst>
          </p:cNvPr>
          <p:cNvSpPr txBox="1"/>
          <p:nvPr/>
        </p:nvSpPr>
        <p:spPr>
          <a:xfrm>
            <a:off x="285743" y="598944"/>
            <a:ext cx="11601457" cy="4801314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just"/>
            <a:endParaRPr lang="en-US" sz="18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800" dirty="0"/>
              <a:t>When training begins, the generator produces obviously fake data, and the discriminator quickly learns to tell that it's fake:</a:t>
            </a:r>
          </a:p>
          <a:p>
            <a:pPr algn="just"/>
            <a:endParaRPr lang="en-US" dirty="0"/>
          </a:p>
          <a:p>
            <a:pPr algn="just"/>
            <a:endParaRPr lang="en-US" sz="1800" dirty="0"/>
          </a:p>
          <a:p>
            <a:pPr algn="just"/>
            <a:endParaRPr lang="en-US" dirty="0"/>
          </a:p>
          <a:p>
            <a:pPr algn="just"/>
            <a:endParaRPr lang="en-US" sz="1800" dirty="0"/>
          </a:p>
          <a:p>
            <a:pPr algn="just"/>
            <a:endParaRPr lang="en-US" dirty="0"/>
          </a:p>
          <a:p>
            <a:pPr algn="just"/>
            <a:endParaRPr lang="en-US" dirty="0"/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As training progresses, the generator gets closer to producing output that can fool the discriminator.</a:t>
            </a:r>
          </a:p>
          <a:p>
            <a:br>
              <a:rPr lang="en-US" dirty="0"/>
            </a:br>
            <a:endParaRPr lang="en-US" dirty="0"/>
          </a:p>
          <a:p>
            <a:pPr algn="just"/>
            <a:endParaRPr lang="en-US" dirty="0"/>
          </a:p>
          <a:p>
            <a:pPr algn="just"/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/>
              <a:t>Finally, if generator training goes well, the discriminator gets worse at telling the difference between real and fake. It starts to classify fake data as real, and its accuracy decreases.</a:t>
            </a:r>
          </a:p>
          <a:p>
            <a:pPr algn="just"/>
            <a:endParaRPr lang="en-US" sz="1800" dirty="0"/>
          </a:p>
          <a:p>
            <a:pPr algn="just"/>
            <a:endParaRPr lang="en-US" sz="18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D6947F-53A6-2227-DDE9-E8783BFB6B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5230" y="3208610"/>
            <a:ext cx="7998782" cy="10818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531B277-131D-4911-ACF8-CA1523548E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5231" y="4790622"/>
            <a:ext cx="7998782" cy="104525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B2BF4A-CAF4-7F27-6B71-633C41B7DD48}"/>
              </a:ext>
            </a:extLst>
          </p:cNvPr>
          <p:cNvSpPr txBox="1"/>
          <p:nvPr/>
        </p:nvSpPr>
        <p:spPr>
          <a:xfrm>
            <a:off x="2351843" y="5900395"/>
            <a:ext cx="7793114" cy="36646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sz="1000" dirty="0"/>
              <a:t>Images source - https://developers.google.com/machine-learning/gan/gan_structure</a:t>
            </a:r>
            <a:endParaRPr lang="en-GB" sz="1000" dirty="0" err="1"/>
          </a:p>
        </p:txBody>
      </p:sp>
      <p:sp>
        <p:nvSpPr>
          <p:cNvPr id="6" name="AutoShape 2" descr="Three columns are labeled 'Generated Data', 'Discriminator', and&#10;          Real Data'. Under 'Generated Data' a blue rectangle contains&#10;          a squiggle and a circle. The rectangle is the&#10;          generator's first, bad attempt&#10;          to draw a dollar bill. Under 'Real Data' there's a picture of a real&#10;          ten dollar bill. Under 'Discriminator' are the words 'FAKE' and&#10;          'REAL'. An arrow points from the word 'FAKE' to the picture under&#10;          'Generated Data'. Another arrow points from the word 'REAL' to the&#10;          picture under 'Real Data'.">
            <a:extLst>
              <a:ext uri="{FF2B5EF4-FFF2-40B4-BE49-F238E27FC236}">
                <a16:creationId xmlns:a16="http://schemas.microsoft.com/office/drawing/2014/main" id="{6B21175C-6423-E1A3-D7B3-5E377F07FB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E8848E-BA50-D63F-1D10-E7E95414B8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5231" y="1179478"/>
            <a:ext cx="7998781" cy="1598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27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0F666C2-BF85-76B4-6B5D-15C3BC7C2A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721696" y="6218508"/>
            <a:ext cx="7481160" cy="411581"/>
          </a:xfrm>
          <a:solidFill>
            <a:schemeClr val="bg1"/>
          </a:solidFill>
          <a:ln>
            <a:noFill/>
          </a:ln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800"/>
              <a:t>Confidential | Authorized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050781-099A-49F9-21F9-308DD1B36B4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202856" y="6301811"/>
            <a:ext cx="684344" cy="365125"/>
          </a:xfrm>
        </p:spPr>
        <p:txBody>
          <a:bodyPr anchor="ctr">
            <a:normAutofit/>
          </a:bodyPr>
          <a:lstStyle/>
          <a:p>
            <a:pPr defTabSz="1088421">
              <a:spcAft>
                <a:spcPts val="600"/>
              </a:spcAft>
            </a:pPr>
            <a:fld id="{104FC826-72BB-4AF1-BA01-A94F7396A7DC}" type="slidenum">
              <a:rPr lang="en-US" sz="1800" smtClean="0"/>
              <a:pPr defTabSz="1088421">
                <a:spcAft>
                  <a:spcPts val="600"/>
                </a:spcAft>
              </a:pPr>
              <a:t>13</a:t>
            </a:fld>
            <a:endParaRPr lang="en-US" sz="1800"/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F96373F9-A0D3-6901-A438-D22BECE47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 dirty="0"/>
              <a:t>USE CASES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CE931038-3B61-91C3-4173-94F0BA6EE0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81599" y="1240942"/>
            <a:ext cx="11404800" cy="4613078"/>
          </a:xfrm>
        </p:spPr>
      </p:pic>
    </p:spTree>
    <p:extLst>
      <p:ext uri="{BB962C8B-B14F-4D97-AF65-F5344CB8AC3E}">
        <p14:creationId xmlns:p14="http://schemas.microsoft.com/office/powerpoint/2010/main" val="73508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FA93B1-6B6E-90CC-8F97-DBE92D8BB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GAN AS A HPE GREENLAKE SERVIC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4283A58-5161-2AE5-E85B-C504DB8DE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690474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86AC04-3BD9-E26C-867A-61F5058FA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  <a:ea typeface="+mj-lt"/>
                <a:cs typeface="+mj-lt"/>
              </a:rPr>
              <a:t>PROPOSED APPROA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C895DC-AD53-CB58-8462-67E3187BF99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1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289AE7-60AE-CE9F-B33B-56346A5760A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pic>
        <p:nvPicPr>
          <p:cNvPr id="8" name="Picture 8" descr="A picture containing diagram&#10;&#10;Description automatically generated">
            <a:extLst>
              <a:ext uri="{FF2B5EF4-FFF2-40B4-BE49-F238E27FC236}">
                <a16:creationId xmlns:a16="http://schemas.microsoft.com/office/drawing/2014/main" id="{6D8FC74B-EB78-6C43-A74C-45E9BCAD25C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372559" y="916426"/>
            <a:ext cx="9446882" cy="5089698"/>
          </a:xfrm>
        </p:spPr>
      </p:pic>
    </p:spTree>
    <p:extLst>
      <p:ext uri="{BB962C8B-B14F-4D97-AF65-F5344CB8AC3E}">
        <p14:creationId xmlns:p14="http://schemas.microsoft.com/office/powerpoint/2010/main" val="257484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7E03D523-7AFD-61EB-336C-6FB174839492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2"/>
          <a:stretch>
            <a:fillRect/>
          </a:stretch>
        </p:blipFill>
        <p:spPr>
          <a:xfrm>
            <a:off x="2017700" y="809509"/>
            <a:ext cx="7701642" cy="5676783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34F6EE7B-15D2-B167-BCC8-5EAA148A3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anchor="ctr">
            <a:noAutofit/>
          </a:bodyPr>
          <a:lstStyle/>
          <a:p>
            <a:r>
              <a:rPr lang="en-US" dirty="0"/>
              <a:t>OUR SOLUTI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11E67C-4760-403F-1AF3-8037C465A3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202856" y="6301811"/>
            <a:ext cx="684344" cy="365125"/>
          </a:xfrm>
        </p:spPr>
        <p:txBody>
          <a:bodyPr anchor="ctr">
            <a:normAutofit/>
          </a:bodyPr>
          <a:lstStyle/>
          <a:p>
            <a:pPr defTabSz="1088421">
              <a:spcAft>
                <a:spcPts val="600"/>
              </a:spcAft>
            </a:pPr>
            <a:fld id="{104FC826-72BB-4AF1-BA01-A94F7396A7DC}" type="slidenum">
              <a:rPr lang="en-US" smtClean="0"/>
              <a:pPr defTabSz="1088421"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194F36D-2DD4-24AA-4261-9BCC5A50A66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721696" y="6129337"/>
            <a:ext cx="7481160" cy="411581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59218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5E6CA2B4-8E56-4422-B3EF-F4915C97289C}"/>
              </a:ext>
            </a:extLst>
          </p:cNvPr>
          <p:cNvSpPr txBox="1"/>
          <p:nvPr/>
        </p:nvSpPr>
        <p:spPr>
          <a:xfrm>
            <a:off x="3943204" y="5373238"/>
            <a:ext cx="4439211" cy="966902"/>
          </a:xfrm>
          <a:prstGeom prst="rect">
            <a:avLst/>
          </a:prstGeom>
          <a:noFill/>
          <a:ln w="38100">
            <a:solidFill>
              <a:schemeClr val="accent6"/>
            </a:solidFill>
            <a:miter lim="800000"/>
          </a:ln>
        </p:spPr>
        <p:txBody>
          <a:bodyPr wrap="square" lIns="91440" tIns="91440" rIns="91440" bIns="9144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endParaRPr 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7EB73A8-A0C4-48E1-96BF-AAD7FAFB3961}"/>
              </a:ext>
            </a:extLst>
          </p:cNvPr>
          <p:cNvSpPr txBox="1"/>
          <p:nvPr/>
        </p:nvSpPr>
        <p:spPr>
          <a:xfrm>
            <a:off x="664409" y="3146007"/>
            <a:ext cx="3418108" cy="433965"/>
          </a:xfrm>
          <a:prstGeom prst="rect">
            <a:avLst/>
          </a:prstGeom>
          <a:noFill/>
          <a:ln w="38100">
            <a:solidFill>
              <a:schemeClr val="accent3">
                <a:lumMod val="60000"/>
                <a:lumOff val="40000"/>
              </a:schemeClr>
            </a:solidFill>
            <a:miter lim="800000"/>
          </a:ln>
        </p:spPr>
        <p:txBody>
          <a:bodyPr wrap="square" lIns="91440" tIns="91440" rIns="91440" bIns="9144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GB" b="1" dirty="0" err="1"/>
              <a:t>MLOps</a:t>
            </a:r>
            <a:r>
              <a:rPr lang="en-GB" b="1" dirty="0"/>
              <a:t> enabled platform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1EC28C3-80A2-4A26-89CF-8A956068C34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prstGeom prst="rect">
            <a:avLst/>
          </a:prstGeom>
        </p:spPr>
        <p:txBody>
          <a:bodyPr vert="horz" lIns="90000" tIns="0" rIns="9000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90000"/>
              </a:lnSpc>
              <a:defRPr sz="120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HPE INTERNAL USE ONLY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610A031-AFD5-4575-8388-3104964F3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ND USER ADVANTAGES  with GAN As A Service</a:t>
            </a:r>
          </a:p>
        </p:txBody>
      </p:sp>
      <p:sp>
        <p:nvSpPr>
          <p:cNvPr id="69" name="Freeform 38">
            <a:extLst>
              <a:ext uri="{FF2B5EF4-FFF2-40B4-BE49-F238E27FC236}">
                <a16:creationId xmlns:a16="http://schemas.microsoft.com/office/drawing/2014/main" id="{A540BA9F-ECA3-4DA6-8B00-692118B4750F}"/>
              </a:ext>
            </a:extLst>
          </p:cNvPr>
          <p:cNvSpPr/>
          <p:nvPr/>
        </p:nvSpPr>
        <p:spPr bwMode="ltGray">
          <a:xfrm rot="3526272">
            <a:off x="6887961" y="2257242"/>
            <a:ext cx="155133" cy="613423"/>
          </a:xfrm>
          <a:custGeom>
            <a:avLst/>
            <a:gdLst>
              <a:gd name="connsiteX0" fmla="*/ 0 w 0"/>
              <a:gd name="connsiteY0" fmla="*/ 0 h 682906"/>
              <a:gd name="connsiteX1" fmla="*/ 0 w 0"/>
              <a:gd name="connsiteY1" fmla="*/ 682906 h 6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82906">
                <a:moveTo>
                  <a:pt x="0" y="0"/>
                </a:moveTo>
                <a:lnTo>
                  <a:pt x="0" y="682906"/>
                </a:lnTo>
              </a:path>
            </a:pathLst>
          </a:custGeom>
          <a:noFill/>
          <a:ln w="50800" cap="rnd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C140FF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3" name="Freeform 38">
            <a:extLst>
              <a:ext uri="{FF2B5EF4-FFF2-40B4-BE49-F238E27FC236}">
                <a16:creationId xmlns:a16="http://schemas.microsoft.com/office/drawing/2014/main" id="{758CD9F7-24C5-493B-A3BD-39EF27E7C582}"/>
              </a:ext>
            </a:extLst>
          </p:cNvPr>
          <p:cNvSpPr/>
          <p:nvPr/>
        </p:nvSpPr>
        <p:spPr bwMode="ltGray">
          <a:xfrm rot="16200000" flipH="1">
            <a:off x="4228228" y="3552008"/>
            <a:ext cx="831793" cy="688083"/>
          </a:xfrm>
          <a:custGeom>
            <a:avLst/>
            <a:gdLst>
              <a:gd name="connsiteX0" fmla="*/ 0 w 0"/>
              <a:gd name="connsiteY0" fmla="*/ 0 h 682906"/>
              <a:gd name="connsiteX1" fmla="*/ 0 w 0"/>
              <a:gd name="connsiteY1" fmla="*/ 682906 h 6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82906">
                <a:moveTo>
                  <a:pt x="0" y="0"/>
                </a:moveTo>
                <a:lnTo>
                  <a:pt x="0" y="682906"/>
                </a:lnTo>
              </a:path>
            </a:pathLst>
          </a:custGeom>
          <a:noFill/>
          <a:ln w="50800" cap="rnd">
            <a:solidFill>
              <a:srgbClr val="01A98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Freeform 38">
            <a:extLst>
              <a:ext uri="{FF2B5EF4-FFF2-40B4-BE49-F238E27FC236}">
                <a16:creationId xmlns:a16="http://schemas.microsoft.com/office/drawing/2014/main" id="{9302896D-5A49-46FC-A3E7-E7BB788BB25D}"/>
              </a:ext>
            </a:extLst>
          </p:cNvPr>
          <p:cNvSpPr/>
          <p:nvPr/>
        </p:nvSpPr>
        <p:spPr bwMode="ltGray">
          <a:xfrm rot="10800000" flipH="1">
            <a:off x="5887785" y="4526782"/>
            <a:ext cx="279645" cy="621411"/>
          </a:xfrm>
          <a:custGeom>
            <a:avLst/>
            <a:gdLst>
              <a:gd name="connsiteX0" fmla="*/ 0 w 0"/>
              <a:gd name="connsiteY0" fmla="*/ 0 h 682906"/>
              <a:gd name="connsiteX1" fmla="*/ 0 w 0"/>
              <a:gd name="connsiteY1" fmla="*/ 682906 h 6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82906">
                <a:moveTo>
                  <a:pt x="0" y="0"/>
                </a:moveTo>
                <a:lnTo>
                  <a:pt x="0" y="682906"/>
                </a:lnTo>
              </a:path>
            </a:pathLst>
          </a:custGeom>
          <a:noFill/>
          <a:ln w="50800" cap="rnd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Freeform 38">
            <a:extLst>
              <a:ext uri="{FF2B5EF4-FFF2-40B4-BE49-F238E27FC236}">
                <a16:creationId xmlns:a16="http://schemas.microsoft.com/office/drawing/2014/main" id="{80F22D23-07FD-4902-A85C-4CDFF0077B46}"/>
              </a:ext>
            </a:extLst>
          </p:cNvPr>
          <p:cNvSpPr/>
          <p:nvPr/>
        </p:nvSpPr>
        <p:spPr bwMode="ltGray">
          <a:xfrm rot="14715661" flipH="1">
            <a:off x="4459366" y="4221779"/>
            <a:ext cx="412414" cy="669597"/>
          </a:xfrm>
          <a:custGeom>
            <a:avLst/>
            <a:gdLst>
              <a:gd name="connsiteX0" fmla="*/ 0 w 0"/>
              <a:gd name="connsiteY0" fmla="*/ 0 h 682906"/>
              <a:gd name="connsiteX1" fmla="*/ 0 w 0"/>
              <a:gd name="connsiteY1" fmla="*/ 682906 h 6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82906">
                <a:moveTo>
                  <a:pt x="0" y="0"/>
                </a:moveTo>
                <a:lnTo>
                  <a:pt x="0" y="682906"/>
                </a:lnTo>
              </a:path>
            </a:pathLst>
          </a:custGeom>
          <a:noFill/>
          <a:ln w="50800" cap="rnd">
            <a:solidFill>
              <a:srgbClr val="32DAC8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7EB73A8-A0C4-48E1-96BF-AAD7FAFB3961}"/>
              </a:ext>
            </a:extLst>
          </p:cNvPr>
          <p:cNvSpPr txBox="1"/>
          <p:nvPr/>
        </p:nvSpPr>
        <p:spPr>
          <a:xfrm>
            <a:off x="4665573" y="5403514"/>
            <a:ext cx="2860854" cy="932563"/>
          </a:xfrm>
          <a:prstGeom prst="rect">
            <a:avLst/>
          </a:prstGeom>
          <a:noFill/>
          <a:ln w="38100">
            <a:noFill/>
            <a:miter lim="800000"/>
          </a:ln>
        </p:spPr>
        <p:txBody>
          <a:bodyPr wrap="square" lIns="91440" tIns="91440" rIns="91440" bIns="9144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b="1" dirty="0"/>
              <a:t>Access to wide range of comprehensive High-End Resources for faster training </a:t>
            </a:r>
            <a:endParaRPr lang="en-US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F180898-B44E-45BF-989B-D928CEFC471A}"/>
              </a:ext>
            </a:extLst>
          </p:cNvPr>
          <p:cNvSpPr txBox="1"/>
          <p:nvPr/>
        </p:nvSpPr>
        <p:spPr>
          <a:xfrm>
            <a:off x="4430047" y="4049983"/>
            <a:ext cx="2997637" cy="433965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b="1"/>
              <a:t> Green Lake Platform</a:t>
            </a:r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7FE9444-EB1B-44C2-93FC-E4EDE172E93A}"/>
              </a:ext>
            </a:extLst>
          </p:cNvPr>
          <p:cNvSpPr txBox="1"/>
          <p:nvPr/>
        </p:nvSpPr>
        <p:spPr>
          <a:xfrm>
            <a:off x="649816" y="4119475"/>
            <a:ext cx="3418108" cy="433965"/>
          </a:xfrm>
          <a:prstGeom prst="rect">
            <a:avLst/>
          </a:prstGeom>
          <a:noFill/>
          <a:ln w="38100">
            <a:solidFill>
              <a:srgbClr val="32DAC8"/>
            </a:solidFill>
            <a:miter lim="800000"/>
          </a:ln>
        </p:spPr>
        <p:txBody>
          <a:bodyPr wrap="square" lIns="0" tIns="91440" rIns="0" bIns="91440" rtlCol="0" anchor="t">
            <a:spAutoFit/>
          </a:bodyPr>
          <a:lstStyle/>
          <a:p>
            <a:pPr marL="0" lvl="1" algn="ctr">
              <a:lnSpc>
                <a:spcPct val="90000"/>
              </a:lnSpc>
              <a:spcBef>
                <a:spcPts val="400"/>
              </a:spcBef>
            </a:pPr>
            <a:r>
              <a:rPr lang="en-US" b="1" dirty="0"/>
              <a:t>Pay only for what you use</a:t>
            </a:r>
            <a:endParaRPr lang="en-GB" b="1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7FE9444-EB1B-44C2-93FC-E4EDE172E93A}"/>
              </a:ext>
            </a:extLst>
          </p:cNvPr>
          <p:cNvSpPr txBox="1"/>
          <p:nvPr/>
        </p:nvSpPr>
        <p:spPr>
          <a:xfrm>
            <a:off x="3871465" y="1034758"/>
            <a:ext cx="4114800" cy="433965"/>
          </a:xfrm>
          <a:prstGeom prst="rect">
            <a:avLst/>
          </a:prstGeom>
          <a:noFill/>
          <a:ln w="38100">
            <a:solidFill>
              <a:srgbClr val="FFC000"/>
            </a:solidFill>
            <a:miter lim="800000"/>
          </a:ln>
        </p:spPr>
        <p:txBody>
          <a:bodyPr wrap="square" lIns="0" tIns="91440" rIns="0" bIns="91440" rtlCol="0" anchor="t">
            <a:spAutoFit/>
          </a:bodyPr>
          <a:lstStyle/>
          <a:p>
            <a:pPr marL="0" lvl="1" algn="ctr">
              <a:lnSpc>
                <a:spcPct val="90000"/>
              </a:lnSpc>
              <a:spcBef>
                <a:spcPts val="400"/>
              </a:spcBef>
            </a:pPr>
            <a:r>
              <a:rPr lang="en-GB" b="1" i="0" dirty="0">
                <a:effectLst/>
              </a:rPr>
              <a:t>Generate</a:t>
            </a:r>
            <a:r>
              <a:rPr lang="en-GB" b="1" dirty="0"/>
              <a:t> </a:t>
            </a:r>
            <a:r>
              <a:rPr lang="en-GB" b="1" i="0" dirty="0">
                <a:effectLst/>
              </a:rPr>
              <a:t>High Quality Synthetic Data</a:t>
            </a:r>
            <a:endParaRPr lang="en-US" b="1" dirty="0"/>
          </a:p>
        </p:txBody>
      </p:sp>
      <p:sp>
        <p:nvSpPr>
          <p:cNvPr id="79" name="Freeform 38">
            <a:extLst>
              <a:ext uri="{FF2B5EF4-FFF2-40B4-BE49-F238E27FC236}">
                <a16:creationId xmlns:a16="http://schemas.microsoft.com/office/drawing/2014/main" id="{758CD9F7-24C5-493B-A3BD-39EF27E7C582}"/>
              </a:ext>
            </a:extLst>
          </p:cNvPr>
          <p:cNvSpPr/>
          <p:nvPr/>
        </p:nvSpPr>
        <p:spPr bwMode="ltGray">
          <a:xfrm rot="7097564" flipH="1" flipV="1">
            <a:off x="4641032" y="2112074"/>
            <a:ext cx="324810" cy="760767"/>
          </a:xfrm>
          <a:custGeom>
            <a:avLst/>
            <a:gdLst>
              <a:gd name="connsiteX0" fmla="*/ 0 w 0"/>
              <a:gd name="connsiteY0" fmla="*/ 0 h 682906"/>
              <a:gd name="connsiteX1" fmla="*/ 0 w 0"/>
              <a:gd name="connsiteY1" fmla="*/ 682906 h 6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82906">
                <a:moveTo>
                  <a:pt x="0" y="0"/>
                </a:moveTo>
                <a:lnTo>
                  <a:pt x="0" y="682906"/>
                </a:lnTo>
              </a:path>
            </a:pathLst>
          </a:custGeom>
          <a:noFill/>
          <a:ln w="50800" cap="rnd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5" name="Grafika 15">
            <a:extLst>
              <a:ext uri="{FF2B5EF4-FFF2-40B4-BE49-F238E27FC236}">
                <a16:creationId xmlns:a16="http://schemas.microsoft.com/office/drawing/2014/main" id="{7ABA8ED0-314A-4042-9D7A-6353D2C27E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61243" y="5606771"/>
            <a:ext cx="552450" cy="4998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Grafika 47">
            <a:extLst>
              <a:ext uri="{FF2B5EF4-FFF2-40B4-BE49-F238E27FC236}">
                <a16:creationId xmlns:a16="http://schemas.microsoft.com/office/drawing/2014/main" id="{BD45B0D8-9416-48F0-A217-E76A677F60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85014" y="5577474"/>
            <a:ext cx="491223" cy="515847"/>
          </a:xfrm>
          <a:prstGeom prst="rect">
            <a:avLst/>
          </a:prstGeom>
        </p:spPr>
      </p:pic>
      <p:pic>
        <p:nvPicPr>
          <p:cNvPr id="4" name="Graphic 3" descr="Internet Of Things with solid fill">
            <a:extLst>
              <a:ext uri="{FF2B5EF4-FFF2-40B4-BE49-F238E27FC236}">
                <a16:creationId xmlns:a16="http://schemas.microsoft.com/office/drawing/2014/main" id="{9654573E-CEBB-FCAC-359E-E6DF590DFC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04362" y="3352781"/>
            <a:ext cx="914400" cy="914400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FE800406-9F39-135A-8C1F-16B5007172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861" y="2645712"/>
            <a:ext cx="985510" cy="703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reeform 38">
            <a:extLst>
              <a:ext uri="{FF2B5EF4-FFF2-40B4-BE49-F238E27FC236}">
                <a16:creationId xmlns:a16="http://schemas.microsoft.com/office/drawing/2014/main" id="{7FE182EC-1E72-26EF-8C86-8C5C4AAAAA4C}"/>
              </a:ext>
            </a:extLst>
          </p:cNvPr>
          <p:cNvSpPr/>
          <p:nvPr/>
        </p:nvSpPr>
        <p:spPr bwMode="ltGray">
          <a:xfrm flipH="1" flipV="1">
            <a:off x="5579806" y="1634986"/>
            <a:ext cx="324810" cy="760767"/>
          </a:xfrm>
          <a:custGeom>
            <a:avLst/>
            <a:gdLst>
              <a:gd name="connsiteX0" fmla="*/ 0 w 0"/>
              <a:gd name="connsiteY0" fmla="*/ 0 h 682906"/>
              <a:gd name="connsiteX1" fmla="*/ 0 w 0"/>
              <a:gd name="connsiteY1" fmla="*/ 682906 h 6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82906">
                <a:moveTo>
                  <a:pt x="0" y="0"/>
                </a:moveTo>
                <a:lnTo>
                  <a:pt x="0" y="682906"/>
                </a:lnTo>
              </a:path>
            </a:pathLst>
          </a:custGeom>
          <a:noFill/>
          <a:ln w="50800" cap="rnd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123AEF-FA4B-B974-0C93-9E0C8EC7407F}"/>
              </a:ext>
            </a:extLst>
          </p:cNvPr>
          <p:cNvSpPr txBox="1"/>
          <p:nvPr/>
        </p:nvSpPr>
        <p:spPr>
          <a:xfrm>
            <a:off x="7427684" y="1820450"/>
            <a:ext cx="4114800" cy="696299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  <a:miter lim="800000"/>
          </a:ln>
        </p:spPr>
        <p:txBody>
          <a:bodyPr wrap="square" lIns="0" tIns="91440" rIns="0" bIns="91440" rtlCol="0" anchor="t">
            <a:spAutoFit/>
          </a:bodyPr>
          <a:lstStyle/>
          <a:p>
            <a:pPr marL="0" lvl="1" algn="ctr">
              <a:lnSpc>
                <a:spcPct val="90000"/>
              </a:lnSpc>
              <a:spcBef>
                <a:spcPts val="400"/>
              </a:spcBef>
            </a:pPr>
            <a:r>
              <a:rPr lang="en-GB" b="1" i="0" dirty="0">
                <a:effectLst/>
              </a:rPr>
              <a:t>Option to choose from numerous </a:t>
            </a:r>
            <a:r>
              <a:rPr lang="en-GB" b="1" dirty="0"/>
              <a:t>pre-trained</a:t>
            </a:r>
            <a:r>
              <a:rPr lang="en-GB" b="1" i="0" dirty="0">
                <a:effectLst/>
              </a:rPr>
              <a:t> models</a:t>
            </a:r>
            <a:r>
              <a:rPr lang="en-GB" b="1" dirty="0"/>
              <a:t> or use bare GAN architecture</a:t>
            </a:r>
            <a:endParaRPr 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D407AD-107A-B2FF-B0B9-4A74A259B6FF}"/>
              </a:ext>
            </a:extLst>
          </p:cNvPr>
          <p:cNvSpPr txBox="1"/>
          <p:nvPr/>
        </p:nvSpPr>
        <p:spPr>
          <a:xfrm>
            <a:off x="7481609" y="3189056"/>
            <a:ext cx="4114800" cy="683264"/>
          </a:xfrm>
          <a:prstGeom prst="rect">
            <a:avLst/>
          </a:prstGeom>
          <a:noFill/>
          <a:ln w="38100">
            <a:solidFill>
              <a:schemeClr val="accent1">
                <a:lumMod val="60000"/>
                <a:lumOff val="40000"/>
              </a:schemeClr>
            </a:solidFill>
            <a:miter lim="800000"/>
          </a:ln>
        </p:spPr>
        <p:txBody>
          <a:bodyPr wrap="square" lIns="0" tIns="91440" rIns="0" bIns="91440" rtlCol="0" anchor="t">
            <a:spAutoFit/>
          </a:bodyPr>
          <a:lstStyle/>
          <a:p>
            <a:pPr marL="0" lvl="1" algn="ctr">
              <a:lnSpc>
                <a:spcPct val="90000"/>
              </a:lnSpc>
              <a:spcBef>
                <a:spcPts val="400"/>
              </a:spcBef>
            </a:pPr>
            <a:r>
              <a:rPr lang="en-US" b="1" dirty="0"/>
              <a:t>Leverage the service from HPE's </a:t>
            </a:r>
            <a:r>
              <a:rPr lang="en-US" b="1" dirty="0" err="1"/>
              <a:t>GreenLake</a:t>
            </a:r>
            <a:r>
              <a:rPr lang="en-US" b="1" dirty="0"/>
              <a:t> port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736528-B95D-D378-E3CD-817D8E298A6C}"/>
              </a:ext>
            </a:extLst>
          </p:cNvPr>
          <p:cNvSpPr txBox="1"/>
          <p:nvPr/>
        </p:nvSpPr>
        <p:spPr>
          <a:xfrm>
            <a:off x="7481609" y="4348058"/>
            <a:ext cx="4114800" cy="683264"/>
          </a:xfrm>
          <a:prstGeom prst="rect">
            <a:avLst/>
          </a:prstGeom>
          <a:noFill/>
          <a:ln w="38100">
            <a:solidFill>
              <a:srgbClr val="F2F64A"/>
            </a:solidFill>
            <a:miter lim="800000"/>
          </a:ln>
        </p:spPr>
        <p:txBody>
          <a:bodyPr wrap="square" lIns="0" tIns="91440" rIns="0" bIns="91440" rtlCol="0" anchor="t">
            <a:spAutoFit/>
          </a:bodyPr>
          <a:lstStyle/>
          <a:p>
            <a:pPr marL="0" lvl="1" algn="ctr">
              <a:lnSpc>
                <a:spcPct val="90000"/>
              </a:lnSpc>
              <a:spcBef>
                <a:spcPts val="400"/>
              </a:spcBef>
            </a:pPr>
            <a:r>
              <a:rPr lang="en-US" b="1" dirty="0"/>
              <a:t>Achieve Parallel computing with Determined AI</a:t>
            </a:r>
          </a:p>
        </p:txBody>
      </p:sp>
      <p:sp>
        <p:nvSpPr>
          <p:cNvPr id="17" name="Freeform 38">
            <a:extLst>
              <a:ext uri="{FF2B5EF4-FFF2-40B4-BE49-F238E27FC236}">
                <a16:creationId xmlns:a16="http://schemas.microsoft.com/office/drawing/2014/main" id="{151D1734-3566-71D8-EDAC-0810E55577E8}"/>
              </a:ext>
            </a:extLst>
          </p:cNvPr>
          <p:cNvSpPr/>
          <p:nvPr/>
        </p:nvSpPr>
        <p:spPr bwMode="ltGray">
          <a:xfrm rot="5400000">
            <a:off x="6845028" y="3198045"/>
            <a:ext cx="155133" cy="613423"/>
          </a:xfrm>
          <a:custGeom>
            <a:avLst/>
            <a:gdLst>
              <a:gd name="connsiteX0" fmla="*/ 0 w 0"/>
              <a:gd name="connsiteY0" fmla="*/ 0 h 682906"/>
              <a:gd name="connsiteX1" fmla="*/ 0 w 0"/>
              <a:gd name="connsiteY1" fmla="*/ 682906 h 6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82906">
                <a:moveTo>
                  <a:pt x="0" y="0"/>
                </a:moveTo>
                <a:lnTo>
                  <a:pt x="0" y="682906"/>
                </a:lnTo>
              </a:path>
            </a:pathLst>
          </a:custGeom>
          <a:noFill/>
          <a:ln w="50800" cap="rnd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C140FF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D6F97D9-0BFD-84BA-3659-DE5D6D3D9C9F}"/>
              </a:ext>
            </a:extLst>
          </p:cNvPr>
          <p:cNvSpPr txBox="1"/>
          <p:nvPr/>
        </p:nvSpPr>
        <p:spPr>
          <a:xfrm>
            <a:off x="696846" y="1839372"/>
            <a:ext cx="3418108" cy="683264"/>
          </a:xfrm>
          <a:prstGeom prst="rect">
            <a:avLst/>
          </a:prstGeom>
          <a:noFill/>
          <a:ln w="38100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91440" tIns="91440" rIns="91440" bIns="9144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GB" b="1" dirty="0"/>
              <a:t>No need of deep learning or GAN expertise to use the service</a:t>
            </a:r>
          </a:p>
        </p:txBody>
      </p:sp>
      <p:sp>
        <p:nvSpPr>
          <p:cNvPr id="19" name="Freeform 38">
            <a:extLst>
              <a:ext uri="{FF2B5EF4-FFF2-40B4-BE49-F238E27FC236}">
                <a16:creationId xmlns:a16="http://schemas.microsoft.com/office/drawing/2014/main" id="{A4C13151-04A3-E910-ACA0-8AD9E5B92FA5}"/>
              </a:ext>
            </a:extLst>
          </p:cNvPr>
          <p:cNvSpPr/>
          <p:nvPr/>
        </p:nvSpPr>
        <p:spPr bwMode="ltGray">
          <a:xfrm rot="7340047">
            <a:off x="6980866" y="4028742"/>
            <a:ext cx="155133" cy="613423"/>
          </a:xfrm>
          <a:custGeom>
            <a:avLst/>
            <a:gdLst>
              <a:gd name="connsiteX0" fmla="*/ 0 w 0"/>
              <a:gd name="connsiteY0" fmla="*/ 0 h 682906"/>
              <a:gd name="connsiteX1" fmla="*/ 0 w 0"/>
              <a:gd name="connsiteY1" fmla="*/ 682906 h 6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82906">
                <a:moveTo>
                  <a:pt x="0" y="0"/>
                </a:moveTo>
                <a:lnTo>
                  <a:pt x="0" y="682906"/>
                </a:lnTo>
              </a:path>
            </a:pathLst>
          </a:custGeom>
          <a:noFill/>
          <a:ln w="50800" cap="rnd"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C140FF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9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4F6EE7B-15D2-B167-BCC8-5EAA148A3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anchor="ctr">
            <a:noAutofit/>
          </a:bodyPr>
          <a:lstStyle/>
          <a:p>
            <a:r>
              <a:rPr lang="en-US"/>
              <a:t>COMPETITIVE OFFERING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11E67C-4760-403F-1AF3-8037C465A3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202856" y="6301811"/>
            <a:ext cx="684344" cy="365125"/>
          </a:xfrm>
        </p:spPr>
        <p:txBody>
          <a:bodyPr anchor="ctr">
            <a:normAutofit/>
          </a:bodyPr>
          <a:lstStyle/>
          <a:p>
            <a:pPr defTabSz="1088421">
              <a:spcAft>
                <a:spcPts val="600"/>
              </a:spcAft>
            </a:pPr>
            <a:fld id="{104FC826-72BB-4AF1-BA01-A94F7396A7DC}" type="slidenum">
              <a:rPr lang="en-US" smtClean="0"/>
              <a:pPr defTabSz="1088421">
                <a:spcAft>
                  <a:spcPts val="600"/>
                </a:spcAft>
              </a:pPr>
              <a:t>18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194F36D-2DD4-24AA-4261-9BCC5A50A66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721696" y="6129337"/>
            <a:ext cx="7481160" cy="411581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Confidential | Authorized </a:t>
            </a:r>
            <a:endParaRPr lang="en-US" dirty="0"/>
          </a:p>
        </p:txBody>
      </p:sp>
      <p:graphicFrame>
        <p:nvGraphicFramePr>
          <p:cNvPr id="20" name="TextBox 3">
            <a:extLst>
              <a:ext uri="{FF2B5EF4-FFF2-40B4-BE49-F238E27FC236}">
                <a16:creationId xmlns:a16="http://schemas.microsoft.com/office/drawing/2014/main" id="{647987BD-1595-E09B-C9AE-5B088EB08E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5071613"/>
              </p:ext>
            </p:extLst>
          </p:nvPr>
        </p:nvGraphicFramePr>
        <p:xfrm>
          <a:off x="1258595" y="1873188"/>
          <a:ext cx="9674810" cy="35244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8028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FA93B1-6B6E-90CC-8F97-DBE92D8BB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91440" tIns="91440" rIns="91440" bIns="91440" rtlCol="0" anchor="t">
            <a:noAutofit/>
          </a:bodyPr>
          <a:lstStyle/>
          <a:p>
            <a:r>
              <a:rPr lang="en-US" dirty="0"/>
              <a:t>NEXT STEP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4283A58-5161-2AE5-E85B-C504DB8DE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CTION 4</a:t>
            </a:r>
          </a:p>
        </p:txBody>
      </p:sp>
    </p:spTree>
    <p:extLst>
      <p:ext uri="{BB962C8B-B14F-4D97-AF65-F5344CB8AC3E}">
        <p14:creationId xmlns:p14="http://schemas.microsoft.com/office/powerpoint/2010/main" val="150461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FA93B1-6B6E-90CC-8F97-DBE92D8BB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91440" tIns="91440" rIns="91440" bIns="91440" rtlCol="0" anchor="t">
            <a:noAutofit/>
          </a:bodyPr>
          <a:lstStyle/>
          <a:p>
            <a:r>
              <a:rPr lang="en-US" dirty="0"/>
              <a:t>THE CURRENT DATA MARKET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4283A58-5161-2AE5-E85B-C504DB8DE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CTION 1</a:t>
            </a:r>
          </a:p>
        </p:txBody>
      </p:sp>
    </p:spTree>
    <p:extLst>
      <p:ext uri="{BB962C8B-B14F-4D97-AF65-F5344CB8AC3E}">
        <p14:creationId xmlns:p14="http://schemas.microsoft.com/office/powerpoint/2010/main" val="292128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194F36D-2DD4-24AA-4261-9BCC5A50A66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721696" y="6129337"/>
            <a:ext cx="7481160" cy="411581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Confidential | Authorized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11E67C-4760-403F-1AF3-8037C465A3A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202856" y="6301811"/>
            <a:ext cx="684344" cy="365125"/>
          </a:xfrm>
        </p:spPr>
        <p:txBody>
          <a:bodyPr anchor="ctr">
            <a:normAutofit/>
          </a:bodyPr>
          <a:lstStyle/>
          <a:p>
            <a:pPr defTabSz="1088421">
              <a:spcAft>
                <a:spcPts val="600"/>
              </a:spcAft>
            </a:pPr>
            <a:fld id="{104FC826-72BB-4AF1-BA01-A94F7396A7DC}" type="slidenum">
              <a:rPr lang="en-US" smtClean="0"/>
              <a:pPr defTabSz="1088421"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4F6EE7B-15D2-B167-BCC8-5EAA148A3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anchor="ctr">
            <a:noAutofit/>
          </a:bodyPr>
          <a:lstStyle/>
          <a:p>
            <a:r>
              <a:rPr lang="en-US" dirty="0"/>
              <a:t>NEXT STEPS</a:t>
            </a:r>
          </a:p>
        </p:txBody>
      </p:sp>
      <p:graphicFrame>
        <p:nvGraphicFramePr>
          <p:cNvPr id="15" name="Content Placeholder 2">
            <a:extLst>
              <a:ext uri="{FF2B5EF4-FFF2-40B4-BE49-F238E27FC236}">
                <a16:creationId xmlns:a16="http://schemas.microsoft.com/office/drawing/2014/main" id="{146CF706-504A-340C-9434-4053DDCDBC5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8449492"/>
              </p:ext>
            </p:extLst>
          </p:nvPr>
        </p:nvGraphicFramePr>
        <p:xfrm>
          <a:off x="381599" y="998681"/>
          <a:ext cx="11404800" cy="5097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1965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EB5213-09ED-5C35-1B73-0AAADB106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CCEB3F-245E-3063-F1FD-767CAFA9E6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21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BB8722-0A57-B024-078A-33220F1B27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indent="0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</a:rPr>
              <a:t>Authors would like to acknowledge,</a:t>
            </a:r>
            <a:endParaRPr lang="en-GB" sz="20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490220" marR="0" algn="just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</a:rPr>
              <a:t>“Mopur, Satish Kumar” for mentorship on GANs.</a:t>
            </a:r>
            <a:endParaRPr lang="en-GB" sz="20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490220" marR="0" algn="just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</a:rPr>
              <a:t>“Sudhakaran, Sonu” for enumerating the technical details of GreenLake platform.</a:t>
            </a:r>
          </a:p>
          <a:p>
            <a:pPr marL="490220" marR="0" algn="just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</a:rPr>
              <a:t>“</a:t>
            </a:r>
            <a:r>
              <a:rPr lang="sv-SE" sz="20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</a:rPr>
              <a:t>Bhattacharya, Suparna</a:t>
            </a:r>
            <a:r>
              <a:rPr lang="en-US" sz="20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</a:rPr>
              <a:t>” for guidance on content creation.</a:t>
            </a:r>
            <a:endParaRPr lang="en-GB" sz="20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D884C86-3009-CA12-B06C-8BED88B99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EM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766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3A7092-8B8E-A244-2DDF-EF9D1BAB683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11489893" cy="5472344"/>
          </a:xfrm>
        </p:spPr>
        <p:txBody>
          <a:bodyPr vert="horz" lIns="0" tIns="91440" rIns="0" bIns="91440" rtlCol="0" anchor="t">
            <a:normAutofit lnSpcReduction="10000"/>
          </a:bodyPr>
          <a:lstStyle/>
          <a:p>
            <a:pPr marL="0" indent="0">
              <a:buNone/>
            </a:pPr>
            <a:r>
              <a:rPr lang="en-US" sz="1800" dirty="0"/>
              <a:t>[1] </a:t>
            </a:r>
            <a:r>
              <a:rPr lang="en-US" sz="1600" dirty="0"/>
              <a:t>arXiv:2303.08774v3 [cs.CL] 27 Mar 2023.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[2] W. Li, "Image Synthesis and Editing with </a:t>
            </a:r>
            <a:r>
              <a:rPr lang="en-US" sz="1600" i="0" dirty="0">
                <a:effectLst/>
              </a:rPr>
              <a:t>Generative Adversarial Networks (GANs</a:t>
            </a:r>
            <a:r>
              <a:rPr lang="en-US" sz="1600" dirty="0"/>
              <a:t>): A Review," 2021 Fifth World Conference on Smart Trends in Systems Security and Sustainability (WorldS4), London, United Kingdom, 2021, pp. 65-70, </a:t>
            </a:r>
            <a:r>
              <a:rPr lang="en-US" sz="1600" dirty="0" err="1"/>
              <a:t>doi</a:t>
            </a:r>
            <a:r>
              <a:rPr lang="en-US" sz="1600" dirty="0"/>
              <a:t>: 10.1109/WorldS451998.2021.9514052.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[3] </a:t>
            </a:r>
            <a:r>
              <a:rPr lang="en-US" sz="1600" dirty="0" err="1"/>
              <a:t>Kiru</a:t>
            </a:r>
            <a:r>
              <a:rPr lang="en-US" sz="1600" dirty="0"/>
              <a:t>, Muhammad &amp; </a:t>
            </a:r>
            <a:r>
              <a:rPr lang="en-US" sz="1600" dirty="0" err="1"/>
              <a:t>Belaton</a:t>
            </a:r>
            <a:r>
              <a:rPr lang="en-US" sz="1600" dirty="0"/>
              <a:t>, </a:t>
            </a:r>
            <a:r>
              <a:rPr lang="en-US" sz="1600" dirty="0" err="1"/>
              <a:t>Bahari</a:t>
            </a:r>
            <a:r>
              <a:rPr lang="en-US" sz="1600" dirty="0"/>
              <a:t> &amp; Chew, </a:t>
            </a:r>
            <a:r>
              <a:rPr lang="en-US" sz="1600" dirty="0" err="1"/>
              <a:t>Xinying</a:t>
            </a:r>
            <a:r>
              <a:rPr lang="en-US" sz="1600" dirty="0"/>
              <a:t> &amp; </a:t>
            </a:r>
            <a:r>
              <a:rPr lang="en-US" sz="1600" dirty="0" err="1"/>
              <a:t>Almotairi</a:t>
            </a:r>
            <a:r>
              <a:rPr lang="en-US" sz="1600" dirty="0"/>
              <a:t>, Khaled &amp; Hussein, Ahmad &amp; Aminu</a:t>
            </a:r>
            <a:r>
              <a:rPr lang="en-US" sz="1600" i="0" dirty="0">
                <a:effectLst/>
              </a:rPr>
              <a:t>, </a:t>
            </a:r>
            <a:r>
              <a:rPr lang="en-US" sz="1600" dirty="0"/>
              <a:t>Maryam. (2022). Comparative analysis </a:t>
            </a:r>
            <a:r>
              <a:rPr lang="en-US" sz="1600" i="0" dirty="0">
                <a:effectLst/>
              </a:rPr>
              <a:t>of </a:t>
            </a:r>
            <a:r>
              <a:rPr lang="en-US" sz="1600" dirty="0"/>
              <a:t>some selected generative adversarial network models </a:t>
            </a:r>
            <a:r>
              <a:rPr lang="en-US" sz="1600" i="0" dirty="0">
                <a:effectLst/>
              </a:rPr>
              <a:t>for </a:t>
            </a:r>
            <a:r>
              <a:rPr lang="en-US" sz="1600" dirty="0"/>
              <a:t>image augmentation: </a:t>
            </a:r>
            <a:r>
              <a:rPr lang="en-US" sz="1600" i="0" dirty="0">
                <a:effectLst/>
              </a:rPr>
              <a:t>a </a:t>
            </a:r>
            <a:r>
              <a:rPr lang="en-US" sz="1600" dirty="0"/>
              <a:t>case study </a:t>
            </a:r>
            <a:r>
              <a:rPr lang="en-US" sz="1600" i="0" dirty="0">
                <a:effectLst/>
              </a:rPr>
              <a:t>of </a:t>
            </a:r>
            <a:r>
              <a:rPr lang="en-US" sz="1600" dirty="0"/>
              <a:t>COVID-19 x-ray </a:t>
            </a:r>
            <a:r>
              <a:rPr lang="en-US" sz="1600" i="0" dirty="0">
                <a:effectLst/>
              </a:rPr>
              <a:t>and </a:t>
            </a:r>
            <a:r>
              <a:rPr lang="en-US" sz="1600" dirty="0"/>
              <a:t>CT images. Journal of Intelligent &amp; Fuzzy Systems. 43. 1-20. 10.3233/JIFS-220017.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[4] M. </a:t>
            </a:r>
            <a:r>
              <a:rPr lang="en-US" sz="1600" dirty="0" err="1"/>
              <a:t>Sabokrou</a:t>
            </a:r>
            <a:r>
              <a:rPr lang="en-US" sz="1600" dirty="0"/>
              <a:t>, M. </a:t>
            </a:r>
            <a:r>
              <a:rPr lang="en-US" sz="1600" dirty="0" err="1"/>
              <a:t>Khalooei</a:t>
            </a:r>
            <a:r>
              <a:rPr lang="en-US" sz="1600" i="0" dirty="0">
                <a:effectLst/>
              </a:rPr>
              <a:t>, </a:t>
            </a:r>
            <a:r>
              <a:rPr lang="en-US" sz="1600" dirty="0"/>
              <a:t>M. Fathy</a:t>
            </a:r>
            <a:r>
              <a:rPr lang="en-US" sz="1600" i="0" dirty="0">
                <a:effectLst/>
              </a:rPr>
              <a:t>, and </a:t>
            </a:r>
            <a:r>
              <a:rPr lang="en-US" sz="1600" dirty="0"/>
              <a:t>E. </a:t>
            </a:r>
            <a:r>
              <a:rPr lang="en-US" sz="1600" dirty="0" err="1"/>
              <a:t>Adeli</a:t>
            </a:r>
            <a:r>
              <a:rPr lang="en-US" sz="1600" dirty="0"/>
              <a:t>. Learning to Learn with Conditional Class Generative Adversarial Networks. In Proceedings of </a:t>
            </a:r>
            <a:r>
              <a:rPr lang="en-US" sz="1600" i="0" dirty="0">
                <a:effectLst/>
              </a:rPr>
              <a:t>the </a:t>
            </a:r>
            <a:r>
              <a:rPr lang="en-US" sz="1600" dirty="0"/>
              <a:t>IEEE Conference on Computer Vision </a:t>
            </a:r>
            <a:r>
              <a:rPr lang="en-US" sz="1600" i="0" dirty="0">
                <a:effectLst/>
              </a:rPr>
              <a:t>and </a:t>
            </a:r>
            <a:r>
              <a:rPr lang="en-US" sz="1600" dirty="0"/>
              <a:t>Pattern Recognition (CVPR), pages 9396-9405, June 2020</a:t>
            </a:r>
            <a:r>
              <a:rPr lang="en-US" sz="1600" i="0" dirty="0">
                <a:effectLst/>
              </a:rPr>
              <a:t>.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[5] G. Zhang</a:t>
            </a:r>
            <a:r>
              <a:rPr lang="en-US" sz="1600" i="0" dirty="0">
                <a:effectLst/>
              </a:rPr>
              <a:t>,</a:t>
            </a:r>
            <a:r>
              <a:rPr lang="en-US" sz="1600" dirty="0"/>
              <a:t> X. </a:t>
            </a:r>
            <a:r>
              <a:rPr lang="en-US" sz="1600" dirty="0" err="1"/>
              <a:t>Geng</a:t>
            </a:r>
            <a:r>
              <a:rPr lang="en-US" sz="1600" i="0" dirty="0">
                <a:effectLst/>
              </a:rPr>
              <a:t>, and </a:t>
            </a:r>
            <a:r>
              <a:rPr lang="en-US" sz="1600" dirty="0"/>
              <a:t>K. </a:t>
            </a:r>
            <a:r>
              <a:rPr lang="en-US" sz="1600" dirty="0" err="1"/>
              <a:t>Keutzer</a:t>
            </a:r>
            <a:r>
              <a:rPr lang="en-US" sz="1600" dirty="0"/>
              <a:t>. Generating High-Quality Synthetic Chinese Handwritten Characters via Generative Adversarial Networks. In Proceedings </a:t>
            </a:r>
            <a:r>
              <a:rPr lang="en-US" sz="1600" i="0" dirty="0">
                <a:effectLst/>
              </a:rPr>
              <a:t>of </a:t>
            </a:r>
            <a:r>
              <a:rPr lang="en-US" sz="1600" dirty="0"/>
              <a:t>the AAAI Conference on Artificial Intelligence, pages 2471-2478, February 2020</a:t>
            </a:r>
            <a:r>
              <a:rPr lang="en-US" sz="1600" i="0" dirty="0">
                <a:effectLst/>
              </a:rPr>
              <a:t>.</a:t>
            </a:r>
            <a:endParaRPr lang="en-GB" sz="1600" dirty="0"/>
          </a:p>
          <a:p>
            <a:pPr marL="0" indent="0">
              <a:buNone/>
            </a:pPr>
            <a:endParaRPr lang="en-GB" sz="1600" dirty="0"/>
          </a:p>
          <a:p>
            <a:pPr marL="0" indent="0">
              <a:buNone/>
            </a:pPr>
            <a:r>
              <a:rPr lang="en-US" sz="1600" dirty="0"/>
              <a:t>[6] https://community.hpe.com/t5/advancing-life-work/hpe-s-natural-language-processing-platform-for-question-and/ba-p/7093877#.Y0kCtBxBzg8</a:t>
            </a:r>
            <a:r>
              <a:rPr lang="en-US" sz="1600" i="0" dirty="0">
                <a:effectLst/>
              </a:rPr>
              <a:t>.</a:t>
            </a:r>
            <a:endParaRPr lang="en-US" sz="1600" dirty="0"/>
          </a:p>
          <a:p>
            <a:pPr marL="0" indent="0">
              <a:buNone/>
            </a:pPr>
            <a:endParaRPr lang="en-US" sz="1600" i="0" dirty="0">
              <a:effectLst/>
            </a:endParaRPr>
          </a:p>
          <a:p>
            <a:pPr marL="0" indent="0">
              <a:buNone/>
            </a:pPr>
            <a:r>
              <a:rPr lang="en-US" sz="1600" dirty="0"/>
              <a:t>[7] https://blogs.gartner.com/andrew_white/2021/07/24/by-2024-60-of-the-data-used-for-the-development-of-ai-and-analytics-projects-will-be-synthetically-generated/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[8] https://www.gartner.com/en/articles/beyond-chatgpt-the-future-of-generative-ai-for-enterpris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4F6EE7B-15D2-B167-BCC8-5EAA148A3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11E67C-4760-403F-1AF3-8037C465A3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22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194F36D-2DD4-24AA-4261-9BCC5A50A66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8818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E94DB59-2993-41B8-AA2D-A95E6BF6DD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91440" tIns="91440" rIns="91440" bIns="91440" rtlCol="0" anchor="t">
            <a:noAutofit/>
          </a:bodyPr>
          <a:lstStyle/>
          <a:p>
            <a:endParaRPr lang="en-US" dirty="0">
              <a:ea typeface="+mn-lt"/>
              <a:cs typeface="+mn-lt"/>
            </a:endParaRPr>
          </a:p>
          <a:p>
            <a:endParaRPr lang="en-US" dirty="0">
              <a:ea typeface="+mn-lt"/>
              <a:cs typeface="+mn-lt"/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3817C569-99BE-4C61-8DBB-67B2DD76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749" y="521016"/>
            <a:ext cx="6195700" cy="2828660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123718AE-1ECF-495D-9D8E-83CBCF47E8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</p:spPr>
        <p:txBody>
          <a:bodyPr/>
          <a:lstStyle/>
          <a:p>
            <a:r>
              <a:rPr lang="en-US"/>
              <a:t>HP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7008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E22BF8A7-E37A-4DA3-B869-04D647B70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anchor="ctr">
            <a:noAutofit/>
          </a:bodyPr>
          <a:lstStyle/>
          <a:p>
            <a:r>
              <a:rPr lang="en-US" dirty="0"/>
              <a:t>GENERATIVE AI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14BDFB80-76C4-4709-BEEA-BD3B9CF1165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202856" y="6301811"/>
            <a:ext cx="684344" cy="365125"/>
          </a:xfrm>
        </p:spPr>
        <p:txBody>
          <a:bodyPr anchor="ctr">
            <a:normAutofit/>
          </a:bodyPr>
          <a:lstStyle/>
          <a:p>
            <a:pPr defTabSz="1088421">
              <a:spcAft>
                <a:spcPts val="600"/>
              </a:spcAft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spcAft>
                  <a:spcPts val="600"/>
                </a:spcAft>
                <a:buFontTx/>
                <a:buBlip>
                  <a:blip r:embed="rId2"/>
                </a:buBlip>
              </a:pPr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349679-8B77-4AAF-9049-025CBA647F5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21696" y="6129337"/>
            <a:ext cx="7481160" cy="411581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HPE Confidential</a:t>
            </a:r>
          </a:p>
        </p:txBody>
      </p:sp>
      <p:pic>
        <p:nvPicPr>
          <p:cNvPr id="7" name="Picture 6" descr="Generative AI Market Size To Hit USD 118.06 Bn By 2032">
            <a:extLst>
              <a:ext uri="{FF2B5EF4-FFF2-40B4-BE49-F238E27FC236}">
                <a16:creationId xmlns:a16="http://schemas.microsoft.com/office/drawing/2014/main" id="{BD1BF58E-2AAF-6491-B4C0-678DEE87AF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5100" y="1221748"/>
            <a:ext cx="7844500" cy="4647866"/>
          </a:xfrm>
          <a:prstGeom prst="rect">
            <a:avLst/>
          </a:prstGeom>
          <a:solidFill>
            <a:srgbClr val="FFFFFF"/>
          </a:solidFill>
          <a:ln>
            <a:noFill/>
            <a:miter lim="800000"/>
          </a:ln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800C31D6-0331-337B-DEB5-130E2F62975B}"/>
              </a:ext>
            </a:extLst>
          </p:cNvPr>
          <p:cNvSpPr txBox="1">
            <a:spLocks/>
          </p:cNvSpPr>
          <p:nvPr/>
        </p:nvSpPr>
        <p:spPr>
          <a:xfrm>
            <a:off x="8293851" y="1776898"/>
            <a:ext cx="3739859" cy="482488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SzPct val="90000"/>
              <a:buFont typeface="" panose="020B0303030202060203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1800" b="1" dirty="0">
                <a:solidFill>
                  <a:srgbClr val="222222"/>
                </a:solidFill>
                <a:ea typeface="+mn-lt"/>
                <a:cs typeface="+mn-lt"/>
              </a:rPr>
              <a:t>The Global generative AI market size -</a:t>
            </a:r>
            <a:endParaRPr lang="en-US" sz="1800" b="1" dirty="0">
              <a:solidFill>
                <a:srgbClr val="222222"/>
              </a:solidFill>
              <a:latin typeface="+mj-lt"/>
            </a:endParaRPr>
          </a:p>
          <a:p>
            <a:pPr marL="0" indent="0" algn="just">
              <a:buNone/>
            </a:pPr>
            <a:endParaRPr lang="en-US" sz="1800" b="1" dirty="0">
              <a:solidFill>
                <a:srgbClr val="222222"/>
              </a:solidFill>
              <a:latin typeface="MetricHPE"/>
            </a:endParaRPr>
          </a:p>
          <a:p>
            <a:pPr algn="just">
              <a:buFont typeface="Wingdings" panose="020B0303030202060203" pitchFamily="34" charset="0"/>
              <a:buChar char="Ø"/>
            </a:pPr>
            <a:r>
              <a:rPr lang="en-US" sz="1800" b="1" dirty="0">
                <a:solidFill>
                  <a:srgbClr val="222222"/>
                </a:solidFill>
                <a:latin typeface="MetricHPE"/>
              </a:rPr>
              <a:t>10.79</a:t>
            </a:r>
            <a:r>
              <a:rPr lang="en-US" sz="1800" b="1" dirty="0">
                <a:solidFill>
                  <a:srgbClr val="222222"/>
                </a:solidFill>
                <a:ea typeface="+mn-lt"/>
                <a:cs typeface="+mn-lt"/>
              </a:rPr>
              <a:t> billion in 2022 </a:t>
            </a:r>
            <a:endParaRPr lang="en-US" sz="1800">
              <a:solidFill>
                <a:srgbClr val="000000"/>
              </a:solidFill>
              <a:latin typeface="MetricHPE"/>
            </a:endParaRPr>
          </a:p>
          <a:p>
            <a:pPr algn="just">
              <a:buFont typeface="Wingdings" panose="020B0303030202060203" pitchFamily="34" charset="0"/>
              <a:buChar char="Ø"/>
            </a:pPr>
            <a:endParaRPr lang="en-US" sz="1800" b="1" dirty="0">
              <a:solidFill>
                <a:srgbClr val="222222"/>
              </a:solidFill>
              <a:latin typeface="MetricHPE"/>
            </a:endParaRPr>
          </a:p>
          <a:p>
            <a:pPr algn="just">
              <a:buFont typeface="Wingdings" panose="020B0303030202060203" pitchFamily="34" charset="0"/>
              <a:buChar char="Ø"/>
            </a:pPr>
            <a:r>
              <a:rPr lang="en-US" sz="1800" b="1" dirty="0">
                <a:solidFill>
                  <a:srgbClr val="222222"/>
                </a:solidFill>
                <a:latin typeface="MetricHPE"/>
              </a:rPr>
              <a:t>Projected</a:t>
            </a:r>
            <a:r>
              <a:rPr lang="en-US" sz="1800" b="1" dirty="0">
                <a:solidFill>
                  <a:srgbClr val="222222"/>
                </a:solidFill>
                <a:ea typeface="+mn-lt"/>
                <a:cs typeface="+mn-lt"/>
              </a:rPr>
              <a:t> to hit around USD 118.06 billion by 2032.</a:t>
            </a:r>
            <a:endParaRPr lang="en-US" sz="1800">
              <a:solidFill>
                <a:srgbClr val="000000"/>
              </a:solidFill>
              <a:latin typeface="MetricHPE"/>
            </a:endParaRPr>
          </a:p>
          <a:p>
            <a:pPr algn="just">
              <a:buFont typeface="Wingdings" panose="020B0303030202060203" pitchFamily="34" charset="0"/>
              <a:buChar char="Ø"/>
            </a:pPr>
            <a:endParaRPr lang="en-US" sz="1800" b="1" dirty="0">
              <a:solidFill>
                <a:srgbClr val="222222"/>
              </a:solidFill>
              <a:latin typeface="MetricHPE"/>
            </a:endParaRPr>
          </a:p>
          <a:p>
            <a:pPr algn="just">
              <a:buFont typeface="Wingdings" panose="020B0303030202060203" pitchFamily="34" charset="0"/>
              <a:buChar char="Ø"/>
            </a:pPr>
            <a:r>
              <a:rPr lang="en-US" sz="1800" b="1" dirty="0">
                <a:solidFill>
                  <a:srgbClr val="222222"/>
                </a:solidFill>
                <a:latin typeface="MetricHPE"/>
              </a:rPr>
              <a:t>Growing</a:t>
            </a:r>
            <a:r>
              <a:rPr lang="en-US" sz="1800" b="1" dirty="0">
                <a:solidFill>
                  <a:srgbClr val="222222"/>
                </a:solidFill>
                <a:ea typeface="+mn-lt"/>
                <a:cs typeface="+mn-lt"/>
              </a:rPr>
              <a:t> at a CAGR of 27.02% b/w 2023 to 2032.</a:t>
            </a:r>
            <a:endParaRPr lang="en-US" sz="1800"/>
          </a:p>
          <a:p>
            <a:pPr algn="just">
              <a:buFont typeface="Wingdings" panose="020B0303030202060203" pitchFamily="34" charset="0"/>
              <a:buChar char="•"/>
            </a:pPr>
            <a:endParaRPr lang="en-US" sz="2000" b="1" dirty="0">
              <a:solidFill>
                <a:srgbClr val="22222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6673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635F0F-771D-CC64-E215-0BCFCB794A0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875810-7F56-6350-A1C2-E31392CBB84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4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38220D8-DD1E-2E75-55F3-20667E609B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123" y="1123581"/>
            <a:ext cx="11282971" cy="3171728"/>
          </a:xfrm>
        </p:spPr>
        <p:txBody>
          <a:bodyPr vert="horz" lIns="0" tIns="91440" rIns="0" bIns="91440" rtlCol="0" anchor="t">
            <a:normAutofit/>
          </a:bodyPr>
          <a:lstStyle/>
          <a:p>
            <a:pPr marL="0" indent="0" algn="ctr">
              <a:buNone/>
            </a:pPr>
            <a:endParaRPr lang="en-US" sz="2000" b="1" dirty="0"/>
          </a:p>
          <a:p>
            <a:pPr algn="just"/>
            <a:r>
              <a:rPr lang="en-US" sz="1800" dirty="0"/>
              <a:t>Derived from generative models preserves the statistical properties of the original dataset</a:t>
            </a:r>
            <a:r>
              <a:rPr lang="en-US" sz="1800" b="0" i="0" dirty="0">
                <a:solidFill>
                  <a:srgbClr val="000000"/>
                </a:solidFill>
                <a:effectLst/>
              </a:rPr>
              <a:t>.</a:t>
            </a:r>
          </a:p>
          <a:p>
            <a:pPr algn="just"/>
            <a:endParaRPr lang="en-US" sz="1800" dirty="0">
              <a:solidFill>
                <a:srgbClr val="000000"/>
              </a:solidFill>
            </a:endParaRPr>
          </a:p>
          <a:p>
            <a:pPr algn="just"/>
            <a:r>
              <a:rPr lang="en-US" sz="1800" b="0" i="0" dirty="0">
                <a:solidFill>
                  <a:srgbClr val="000000"/>
                </a:solidFill>
                <a:effectLst/>
              </a:rPr>
              <a:t>Synthetic data can be generated using different </a:t>
            </a:r>
            <a:r>
              <a:rPr lang="en-US" sz="1800" dirty="0">
                <a:solidFill>
                  <a:srgbClr val="000000"/>
                </a:solidFill>
              </a:rPr>
              <a:t>methods- </a:t>
            </a:r>
          </a:p>
          <a:p>
            <a:pPr lvl="1" algn="just">
              <a:buFont typeface="Calibri"/>
              <a:buChar char="-"/>
            </a:pPr>
            <a:r>
              <a:rPr lang="en-US" sz="1600" dirty="0">
                <a:solidFill>
                  <a:srgbClr val="000000"/>
                </a:solidFill>
              </a:rPr>
              <a:t>Statistically</a:t>
            </a:r>
            <a:r>
              <a:rPr lang="en-US" sz="1600" b="0" i="0" dirty="0">
                <a:solidFill>
                  <a:srgbClr val="000000"/>
                </a:solidFill>
                <a:effectLst/>
              </a:rPr>
              <a:t> rigorous sampling from real </a:t>
            </a:r>
            <a:r>
              <a:rPr lang="en-US" sz="1600" dirty="0">
                <a:solidFill>
                  <a:srgbClr val="000000"/>
                </a:solidFill>
              </a:rPr>
              <a:t>data</a:t>
            </a:r>
            <a:endParaRPr lang="en-US" dirty="0">
              <a:solidFill>
                <a:srgbClr val="000000"/>
              </a:solidFill>
            </a:endParaRPr>
          </a:p>
          <a:p>
            <a:pPr lvl="1" algn="just">
              <a:buFont typeface="Calibri"/>
              <a:buChar char="-"/>
            </a:pPr>
            <a:r>
              <a:rPr lang="en-US" sz="1600" dirty="0">
                <a:solidFill>
                  <a:srgbClr val="000000"/>
                </a:solidFill>
              </a:rPr>
              <a:t>Semantic</a:t>
            </a:r>
            <a:r>
              <a:rPr lang="en-US" sz="1600" b="0" i="0" dirty="0">
                <a:solidFill>
                  <a:srgbClr val="000000"/>
                </a:solidFill>
                <a:effectLst/>
              </a:rPr>
              <a:t> approaches </a:t>
            </a:r>
            <a:r>
              <a:rPr lang="en-US" sz="1600" dirty="0">
                <a:solidFill>
                  <a:srgbClr val="000000"/>
                </a:solidFill>
              </a:rPr>
              <a:t>using</a:t>
            </a:r>
            <a:r>
              <a:rPr lang="en-US" sz="1600" b="0" i="0" dirty="0">
                <a:solidFill>
                  <a:srgbClr val="000000"/>
                </a:solidFill>
                <a:effectLst/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Generative</a:t>
            </a:r>
            <a:r>
              <a:rPr lang="en-US" sz="1600" b="0" i="0" dirty="0">
                <a:solidFill>
                  <a:srgbClr val="000000"/>
                </a:solidFill>
                <a:effectLst/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Adversarial</a:t>
            </a:r>
            <a:r>
              <a:rPr lang="en-US" sz="1600" b="0" i="0" dirty="0">
                <a:solidFill>
                  <a:srgbClr val="000000"/>
                </a:solidFill>
                <a:effectLst/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Networks</a:t>
            </a:r>
            <a:endParaRPr lang="en-US" dirty="0">
              <a:solidFill>
                <a:srgbClr val="000000"/>
              </a:solidFill>
            </a:endParaRPr>
          </a:p>
          <a:p>
            <a:pPr lvl="1" algn="just">
              <a:buFont typeface="Calibri"/>
              <a:buChar char="-"/>
            </a:pPr>
            <a:r>
              <a:rPr lang="en-US" sz="1600" dirty="0">
                <a:solidFill>
                  <a:srgbClr val="000000"/>
                </a:solidFill>
              </a:rPr>
              <a:t>By creating</a:t>
            </a:r>
            <a:r>
              <a:rPr lang="en-US" sz="1600" b="0" i="0" dirty="0">
                <a:solidFill>
                  <a:srgbClr val="000000"/>
                </a:solidFill>
                <a:effectLst/>
              </a:rPr>
              <a:t> simulation scenarios where models and processes interact.</a:t>
            </a:r>
            <a:endParaRPr lang="en-US" dirty="0"/>
          </a:p>
          <a:p>
            <a:pPr algn="just"/>
            <a:endParaRPr lang="en-US" sz="1800" dirty="0">
              <a:solidFill>
                <a:srgbClr val="000000"/>
              </a:solidFill>
            </a:endParaRPr>
          </a:p>
          <a:p>
            <a:pPr algn="just"/>
            <a:r>
              <a:rPr lang="en-US" sz="1800" dirty="0">
                <a:solidFill>
                  <a:srgbClr val="1A202C"/>
                </a:solidFill>
              </a:rPr>
              <a:t>Helpful</a:t>
            </a:r>
            <a:r>
              <a:rPr lang="en-US" sz="1800" b="0" i="0" dirty="0">
                <a:solidFill>
                  <a:srgbClr val="1A202C"/>
                </a:solidFill>
                <a:effectLst/>
              </a:rPr>
              <a:t> for companies to build models for scenarios </a:t>
            </a:r>
            <a:r>
              <a:rPr lang="en-US" sz="1800" dirty="0">
                <a:solidFill>
                  <a:srgbClr val="1A202C"/>
                </a:solidFill>
              </a:rPr>
              <a:t>where</a:t>
            </a:r>
            <a:r>
              <a:rPr lang="en-US" sz="1800" b="0" i="0" dirty="0">
                <a:solidFill>
                  <a:srgbClr val="1A202C"/>
                </a:solidFill>
                <a:effectLst/>
              </a:rPr>
              <a:t> data </a:t>
            </a:r>
            <a:r>
              <a:rPr lang="en-US" sz="1800" dirty="0">
                <a:solidFill>
                  <a:srgbClr val="1A202C"/>
                </a:solidFill>
              </a:rPr>
              <a:t>is private, </a:t>
            </a:r>
            <a:r>
              <a:rPr lang="en-US" sz="1800" b="0" i="0" dirty="0">
                <a:solidFill>
                  <a:srgbClr val="1A202C"/>
                </a:solidFill>
                <a:effectLst/>
              </a:rPr>
              <a:t>low-quality or simply does not exist at all.</a:t>
            </a:r>
            <a:endParaRPr lang="en-US" sz="1800" b="1" cap="none" dirty="0"/>
          </a:p>
          <a:p>
            <a:endParaRPr lang="en-GB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DA5EE6-042E-61F7-31BE-01FC691F8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500656" cy="443890"/>
          </a:xfrm>
        </p:spPr>
        <p:txBody>
          <a:bodyPr/>
          <a:lstStyle/>
          <a:p>
            <a:r>
              <a:rPr lang="en-US" dirty="0">
                <a:ea typeface="+mj-lt"/>
                <a:cs typeface="+mj-lt"/>
              </a:rPr>
              <a:t>SYNTHETIC DATA</a:t>
            </a:r>
          </a:p>
        </p:txBody>
      </p:sp>
      <p:pic>
        <p:nvPicPr>
          <p:cNvPr id="9" name="Picture 9" descr="Shape, rectangle&#10;&#10;Description automatically generated">
            <a:extLst>
              <a:ext uri="{FF2B5EF4-FFF2-40B4-BE49-F238E27FC236}">
                <a16:creationId xmlns:a16="http://schemas.microsoft.com/office/drawing/2014/main" id="{3FCA90AE-EB82-071F-1A6E-4363064BC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694" y="4835897"/>
            <a:ext cx="10215409" cy="89359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DADF6CB-3CCE-0B1D-FBAF-BD16EC8B1819}"/>
              </a:ext>
            </a:extLst>
          </p:cNvPr>
          <p:cNvSpPr/>
          <p:nvPr/>
        </p:nvSpPr>
        <p:spPr bwMode="ltGray">
          <a:xfrm>
            <a:off x="1000402" y="5032552"/>
            <a:ext cx="1281288" cy="585141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400" b="1">
                <a:solidFill>
                  <a:srgbClr val="666666"/>
                </a:solidFill>
                <a:latin typeface="Arial"/>
                <a:cs typeface="Arial"/>
              </a:rPr>
              <a:t>Media data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6D281B3-35E5-892A-8CC7-E7077922EB6A}"/>
              </a:ext>
            </a:extLst>
          </p:cNvPr>
          <p:cNvSpPr/>
          <p:nvPr/>
        </p:nvSpPr>
        <p:spPr bwMode="ltGray">
          <a:xfrm>
            <a:off x="2533809" y="5032552"/>
            <a:ext cx="1281288" cy="585141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/>
            <a:r>
              <a:rPr lang="en-US" sz="1400" b="1">
                <a:solidFill>
                  <a:srgbClr val="666666"/>
                </a:solidFill>
                <a:latin typeface="Arial"/>
                <a:cs typeface="Arial"/>
              </a:rPr>
              <a:t>Text data</a:t>
            </a:r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31FAD2F-89DD-905A-28BF-F74E352B96E4}"/>
              </a:ext>
            </a:extLst>
          </p:cNvPr>
          <p:cNvSpPr/>
          <p:nvPr/>
        </p:nvSpPr>
        <p:spPr bwMode="ltGray">
          <a:xfrm>
            <a:off x="4095439" y="5032552"/>
            <a:ext cx="1281288" cy="585141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/>
            <a:r>
              <a:rPr lang="en-US" sz="1400" b="1">
                <a:solidFill>
                  <a:srgbClr val="666666"/>
                </a:solidFill>
                <a:latin typeface="Arial"/>
                <a:cs typeface="Arial"/>
              </a:rPr>
              <a:t>Tabular Data</a:t>
            </a:r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AC143A-8551-0085-70EB-C6E4D33296F1}"/>
              </a:ext>
            </a:extLst>
          </p:cNvPr>
          <p:cNvSpPr/>
          <p:nvPr/>
        </p:nvSpPr>
        <p:spPr bwMode="ltGray">
          <a:xfrm>
            <a:off x="5788772" y="5032552"/>
            <a:ext cx="1337732" cy="585141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/>
            <a:r>
              <a:rPr lang="en-US" sz="1400" b="1">
                <a:solidFill>
                  <a:srgbClr val="666666"/>
                </a:solidFill>
                <a:latin typeface="Arial"/>
                <a:cs typeface="Arial"/>
              </a:rPr>
              <a:t>Unstructured Data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7A7478-922A-93B6-9FB5-4EA26D1E60DB}"/>
              </a:ext>
            </a:extLst>
          </p:cNvPr>
          <p:cNvSpPr/>
          <p:nvPr/>
        </p:nvSpPr>
        <p:spPr bwMode="ltGray">
          <a:xfrm>
            <a:off x="7510327" y="5051367"/>
            <a:ext cx="1384769" cy="585141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/>
            <a:r>
              <a:rPr lang="en-US" sz="1400" b="1">
                <a:solidFill>
                  <a:srgbClr val="666666"/>
                </a:solidFill>
                <a:latin typeface="Arial"/>
                <a:cs typeface="Arial"/>
              </a:rPr>
              <a:t>Financial services data</a:t>
            </a:r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2ADF9E-AC63-8A05-CFD2-E13034B0BA88}"/>
              </a:ext>
            </a:extLst>
          </p:cNvPr>
          <p:cNvSpPr/>
          <p:nvPr/>
        </p:nvSpPr>
        <p:spPr bwMode="ltGray">
          <a:xfrm>
            <a:off x="9241290" y="5032552"/>
            <a:ext cx="1441213" cy="585141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/>
            <a:r>
              <a:rPr lang="en-US" sz="1400" b="1">
                <a:solidFill>
                  <a:srgbClr val="666666"/>
                </a:solidFill>
                <a:latin typeface="Arial"/>
                <a:cs typeface="Arial"/>
              </a:rPr>
              <a:t>Manufacturing data</a:t>
            </a:r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3F66509-AF30-A849-450B-25973896E4C7}"/>
              </a:ext>
            </a:extLst>
          </p:cNvPr>
          <p:cNvSpPr txBox="1"/>
          <p:nvPr/>
        </p:nvSpPr>
        <p:spPr>
          <a:xfrm>
            <a:off x="4557884" y="4328004"/>
            <a:ext cx="3067291" cy="431057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b="1"/>
              <a:t>Examples of Synthetic Data</a:t>
            </a:r>
            <a:endParaRPr lang="en-US" b="1" err="1"/>
          </a:p>
        </p:txBody>
      </p:sp>
    </p:spTree>
    <p:extLst>
      <p:ext uri="{BB962C8B-B14F-4D97-AF65-F5344CB8AC3E}">
        <p14:creationId xmlns:p14="http://schemas.microsoft.com/office/powerpoint/2010/main" val="239846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E22BF8A7-E37A-4DA3-B869-04D647B70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anchor="ctr">
            <a:noAutofit/>
          </a:bodyPr>
          <a:lstStyle/>
          <a:p>
            <a:r>
              <a:rPr lang="en-US" dirty="0"/>
              <a:t>ISSUES WITH EXISTING DATA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14BDFB80-76C4-4709-BEEA-BD3B9CF1165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202856" y="6301811"/>
            <a:ext cx="684344" cy="365125"/>
          </a:xfrm>
        </p:spPr>
        <p:txBody>
          <a:bodyPr anchor="ctr">
            <a:normAutofit/>
          </a:bodyPr>
          <a:lstStyle/>
          <a:p>
            <a:pPr defTabSz="1088421">
              <a:spcAft>
                <a:spcPts val="600"/>
              </a:spcAft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spcAft>
                  <a:spcPts val="600"/>
                </a:spcAft>
                <a:buFontTx/>
                <a:buBlip>
                  <a:blip r:embed="rId2"/>
                </a:buBlip>
              </a:pPr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349679-8B77-4AAF-9049-025CBA647F5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21696" y="6129337"/>
            <a:ext cx="7481160" cy="411581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HPE Confidential</a:t>
            </a:r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id="{591C9B28-95CF-6BF9-4F59-DABEA3B988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092" y="1915275"/>
            <a:ext cx="10935788" cy="2645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081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FA93B1-6B6E-90CC-8F97-DBE92D8BBF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APABILITIES OF GA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4283A58-5161-2AE5-E85B-C504DB8DE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176885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ith long hair&#10;&#10;Description automatically generated with low confidence">
            <a:extLst>
              <a:ext uri="{FF2B5EF4-FFF2-40B4-BE49-F238E27FC236}">
                <a16:creationId xmlns:a16="http://schemas.microsoft.com/office/drawing/2014/main" id="{707B129D-73F1-D17F-A7CA-0CEF65E47B9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22" r="14421" b="-1"/>
          <a:stretch/>
        </p:blipFill>
        <p:spPr>
          <a:xfrm>
            <a:off x="8498368" y="1416027"/>
            <a:ext cx="2996809" cy="4216831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4" name="Picture 3" descr="A train track going through a tunnel&#10;&#10;Description automatically generated with low confidence">
            <a:extLst>
              <a:ext uri="{FF2B5EF4-FFF2-40B4-BE49-F238E27FC236}">
                <a16:creationId xmlns:a16="http://schemas.microsoft.com/office/drawing/2014/main" id="{2045E285-2295-DE5D-0E8D-FAED8A8C74F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7" r="36816" b="1"/>
          <a:stretch/>
        </p:blipFill>
        <p:spPr>
          <a:xfrm>
            <a:off x="4614681" y="1416027"/>
            <a:ext cx="2996809" cy="4216831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2" name="Picture 1" descr="A person with brown hair&#10;&#10;Description automatically generated with low confidence">
            <a:extLst>
              <a:ext uri="{FF2B5EF4-FFF2-40B4-BE49-F238E27FC236}">
                <a16:creationId xmlns:a16="http://schemas.microsoft.com/office/drawing/2014/main" id="{FBD49A02-0DAB-6B15-1E36-D047CF4A217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22" r="14921" b="-1"/>
          <a:stretch/>
        </p:blipFill>
        <p:spPr>
          <a:xfrm>
            <a:off x="730994" y="1416027"/>
            <a:ext cx="2996809" cy="4216831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21" name="Title 20">
            <a:extLst>
              <a:ext uri="{FF2B5EF4-FFF2-40B4-BE49-F238E27FC236}">
                <a16:creationId xmlns:a16="http://schemas.microsoft.com/office/drawing/2014/main" id="{E22BF8A7-E37A-4DA3-B869-04D647B70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anchor="ctr">
            <a:noAutofit/>
          </a:bodyPr>
          <a:lstStyle/>
          <a:p>
            <a:r>
              <a:rPr lang="en-US" dirty="0"/>
              <a:t>GAN GENERATED IMAGES</a:t>
            </a: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14BDFB80-76C4-4709-BEEA-BD3B9CF1165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202856" y="6301811"/>
            <a:ext cx="684344" cy="365125"/>
          </a:xfrm>
        </p:spPr>
        <p:txBody>
          <a:bodyPr anchor="ctr">
            <a:normAutofit/>
          </a:bodyPr>
          <a:lstStyle/>
          <a:p>
            <a:pPr defTabSz="1088421">
              <a:spcAft>
                <a:spcPts val="600"/>
              </a:spcAft>
              <a:buFontTx/>
              <a:buBlip>
                <a:blip r:embed="rId5"/>
              </a:buBlip>
            </a:pPr>
            <a:fld id="{104FC826-72BB-4AF1-BA01-A94F7396A7DC}" type="slidenum">
              <a:rPr lang="en-US" smtClean="0"/>
              <a:pPr defTabSz="1088421">
                <a:spcAft>
                  <a:spcPts val="600"/>
                </a:spcAft>
                <a:buFontTx/>
                <a:buBlip>
                  <a:blip r:embed="rId5"/>
                </a:buBlip>
              </a:pPr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349679-8B77-4AAF-9049-025CBA647F5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21696" y="6129337"/>
            <a:ext cx="7481160" cy="411581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HPE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53E08C-EB67-7203-FE54-339E49D80267}"/>
              </a:ext>
            </a:extLst>
          </p:cNvPr>
          <p:cNvSpPr txBox="1"/>
          <p:nvPr/>
        </p:nvSpPr>
        <p:spPr>
          <a:xfrm>
            <a:off x="2032986" y="5752730"/>
            <a:ext cx="7741329" cy="4115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GB" sz="1000" dirty="0"/>
              <a:t>Image source - https://en.wikipedia.org/wiki/Generative_adversarial_network</a:t>
            </a:r>
          </a:p>
        </p:txBody>
      </p:sp>
    </p:spTree>
    <p:extLst>
      <p:ext uri="{BB962C8B-B14F-4D97-AF65-F5344CB8AC3E}">
        <p14:creationId xmlns:p14="http://schemas.microsoft.com/office/powerpoint/2010/main" val="357137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D1E8786-C6B9-B399-AE3B-902FBEB5DD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93" r="28825" b="2"/>
          <a:stretch/>
        </p:blipFill>
        <p:spPr>
          <a:xfrm>
            <a:off x="8183759" y="1191453"/>
            <a:ext cx="3348334" cy="4705605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7" name="Picture 6" descr="Timeline&#10;&#10;Description automatically generated">
            <a:extLst>
              <a:ext uri="{FF2B5EF4-FFF2-40B4-BE49-F238E27FC236}">
                <a16:creationId xmlns:a16="http://schemas.microsoft.com/office/drawing/2014/main" id="{5B3FE93F-3844-47AE-4773-80C60EEF0D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65" r="27463" b="2"/>
          <a:stretch/>
        </p:blipFill>
        <p:spPr>
          <a:xfrm>
            <a:off x="4519644" y="1191453"/>
            <a:ext cx="3345971" cy="4702285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8FCE6E5-64E2-F308-A17F-901294AB3D12}"/>
              </a:ext>
            </a:extLst>
          </p:cNvPr>
          <p:cNvSpPr txBox="1">
            <a:spLocks/>
          </p:cNvSpPr>
          <p:nvPr/>
        </p:nvSpPr>
        <p:spPr>
          <a:xfrm>
            <a:off x="216570" y="1033995"/>
            <a:ext cx="3984930" cy="5090343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91440" rIns="0" bIns="9144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SzPct val="90000"/>
              <a:buFont typeface="" panose="020B0303030202060203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algn="just"/>
            <a:r>
              <a:rPr lang="en-US" sz="2000" dirty="0"/>
              <a:t>“Edmond de Belamy,” is one of several members of a fictitious family created by </a:t>
            </a:r>
            <a:r>
              <a:rPr lang="en-US" sz="2000" dirty="0" err="1"/>
              <a:t>by</a:t>
            </a:r>
            <a:r>
              <a:rPr lang="en-US" sz="2000" dirty="0"/>
              <a:t> French AI engineers and artists Obvious using </a:t>
            </a:r>
            <a:r>
              <a:rPr lang="en-US" sz="2000" b="1" dirty="0"/>
              <a:t>GAN</a:t>
            </a:r>
            <a:r>
              <a:rPr lang="en-US" sz="2000" dirty="0"/>
              <a:t>.</a:t>
            </a:r>
          </a:p>
          <a:p>
            <a:endParaRPr lang="en-US" sz="2000" dirty="0"/>
          </a:p>
          <a:p>
            <a:endParaRPr lang="en-US" sz="2000" dirty="0"/>
          </a:p>
          <a:p>
            <a:pPr algn="just"/>
            <a:r>
              <a:rPr lang="en-US" sz="2000" dirty="0"/>
              <a:t>About 15,000 portraits of the family from the last 600 years or so was used to train and generate this portrait.</a:t>
            </a:r>
          </a:p>
          <a:p>
            <a:endParaRPr lang="en-US" sz="2000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E22BF8A7-E37A-4DA3-B869-04D647B70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 dirty="0"/>
              <a:t>AI-GENERATED PORTRAIT FETCHES </a:t>
            </a:r>
            <a:r>
              <a:rPr lang="en-US" b="1" kern="1200" cap="none" baseline="0" dirty="0">
                <a:latin typeface="+mj-lt"/>
                <a:ea typeface="+mj-ea"/>
                <a:cs typeface="+mj-cs"/>
              </a:rPr>
              <a:t>$432,500 </a:t>
            </a:r>
            <a:r>
              <a:rPr lang="en-US" dirty="0"/>
              <a:t>AT AUCTION</a:t>
            </a:r>
            <a:endParaRPr lang="en-US" b="1" kern="1200" cap="none" baseline="0" dirty="0">
              <a:latin typeface="+mj-lt"/>
              <a:ea typeface="+mj-ea"/>
              <a:cs typeface="+mj-cs"/>
            </a:endParaRP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14BDFB80-76C4-4709-BEEA-BD3B9CF1165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202856" y="6301811"/>
            <a:ext cx="684344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088421">
              <a:spcAft>
                <a:spcPts val="600"/>
              </a:spcAft>
            </a:pPr>
            <a:fld id="{104FC826-72BB-4AF1-BA01-A94F7396A7DC}" type="slidenum">
              <a:rPr lang="en-US" smtClean="0"/>
              <a:pPr defTabSz="1088421"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349679-8B77-4AAF-9049-025CBA647F5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21696" y="6129337"/>
            <a:ext cx="7481160" cy="411581"/>
          </a:xfrm>
        </p:spPr>
        <p:txBody>
          <a:bodyPr vert="horz" lIns="90000" tIns="0" rIns="90000" bIns="0" rtlCol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 cap="none" baseline="0" dirty="0">
                <a:latin typeface="+mn-lt"/>
                <a:ea typeface="+mn-ea"/>
                <a:cs typeface="+mn-cs"/>
              </a:rPr>
              <a:t>HPE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B53829-971E-9529-10BF-85D5AB0EDB39}"/>
              </a:ext>
            </a:extLst>
          </p:cNvPr>
          <p:cNvSpPr txBox="1"/>
          <p:nvPr/>
        </p:nvSpPr>
        <p:spPr>
          <a:xfrm>
            <a:off x="3536027" y="5882637"/>
            <a:ext cx="9212305" cy="26911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GB" sz="1000" dirty="0"/>
              <a:t>Image source - https://en.wikipedia.org/wiki/Edmond_de_Belamy#/media/File:Edmond_de_Belamy.png</a:t>
            </a:r>
          </a:p>
        </p:txBody>
      </p:sp>
    </p:spTree>
    <p:extLst>
      <p:ext uri="{BB962C8B-B14F-4D97-AF65-F5344CB8AC3E}">
        <p14:creationId xmlns:p14="http://schemas.microsoft.com/office/powerpoint/2010/main" val="319100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5A55897-2FB4-4E21-53F3-9C954A595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601457" cy="401362"/>
          </a:xfrm>
        </p:spPr>
        <p:txBody>
          <a:bodyPr/>
          <a:lstStyle/>
          <a:p>
            <a:r>
              <a:rPr lang="en-US" sz="2000" dirty="0"/>
              <a:t> BRAIN TUMOR IMAGE GENERATION USING AN AGGREGATION OF GAN MODELS WITH STYLE TRANSFER</a:t>
            </a:r>
            <a:endParaRPr lang="en-GB" sz="20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3D43C6-2888-E4A1-3540-C117F8FEA12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9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1C2AC2-CFE8-EFBF-F4A8-CE98C2A281A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HPE Confidential</a:t>
            </a:r>
          </a:p>
        </p:txBody>
      </p:sp>
      <p:pic>
        <p:nvPicPr>
          <p:cNvPr id="1026" name="Picture 2" descr="Figure 3">
            <a:extLst>
              <a:ext uri="{FF2B5EF4-FFF2-40B4-BE49-F238E27FC236}">
                <a16:creationId xmlns:a16="http://schemas.microsoft.com/office/drawing/2014/main" id="{133A6CC4-60A5-C2A3-AA7F-8B6A08261D9E}"/>
              </a:ext>
            </a:extLst>
          </p:cNvPr>
          <p:cNvPicPr>
            <a:picLocks noGrp="1" noChangeAspect="1" noChangeArrowheads="1"/>
          </p:cNvPicPr>
          <p:nvPr>
            <p:ph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5034" y="1393131"/>
            <a:ext cx="8130921" cy="317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4EDC1A-ACFF-2F81-BCAC-69A18597B22F}"/>
              </a:ext>
            </a:extLst>
          </p:cNvPr>
          <p:cNvSpPr txBox="1"/>
          <p:nvPr/>
        </p:nvSpPr>
        <p:spPr>
          <a:xfrm>
            <a:off x="1012054" y="4744474"/>
            <a:ext cx="10314129" cy="594804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000" dirty="0"/>
              <a:t>Image source - Scientific Reports:</a:t>
            </a:r>
          </a:p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000" dirty="0"/>
              <a:t> </a:t>
            </a:r>
            <a:r>
              <a:rPr lang="en-US" sz="1000" dirty="0" err="1"/>
              <a:t>Mukherkjee</a:t>
            </a:r>
            <a:r>
              <a:rPr lang="en-US" sz="1000" dirty="0"/>
              <a:t>, D., </a:t>
            </a:r>
            <a:r>
              <a:rPr lang="en-US" sz="1000" dirty="0" err="1"/>
              <a:t>Saha</a:t>
            </a:r>
            <a:r>
              <a:rPr lang="en-US" sz="1000" dirty="0"/>
              <a:t>, P., </a:t>
            </a:r>
            <a:r>
              <a:rPr lang="en-US" sz="1000" dirty="0" err="1"/>
              <a:t>Kaplun</a:t>
            </a:r>
            <a:r>
              <a:rPr lang="en-US" sz="1000" dirty="0"/>
              <a:t>, D. et al. Brain tumor image generation using an aggregation of GAN models with style transfer. Sci Rep 12, 9141 (2022). https://doi.org/10.1038/s41598-022-12646-y</a:t>
            </a:r>
            <a:endParaRPr lang="en-GB" sz="1000" dirty="0" err="1"/>
          </a:p>
        </p:txBody>
      </p:sp>
    </p:spTree>
    <p:extLst>
      <p:ext uri="{BB962C8B-B14F-4D97-AF65-F5344CB8AC3E}">
        <p14:creationId xmlns:p14="http://schemas.microsoft.com/office/powerpoint/2010/main" val="102397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 Standard 16x9 Black Templat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">
      <a:majorFont>
        <a:latin typeface="MetricHPE Black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 anchor="ctr" anchorCtr="0">
        <a:noAutofit/>
      </a:bodyPr>
      <a:lstStyle>
        <a:defPPr algn="ctr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Black Template" id="{C22C3192-A93A-4AAC-B1D3-278E416063BF}" vid="{EE8CA267-1D7E-4187-A31B-6CA2AC5EC497}"/>
    </a:ext>
  </a:extLst>
</a:theme>
</file>

<file path=ppt/theme/theme10.xml><?xml version="1.0" encoding="utf-8"?>
<a:theme xmlns:a="http://schemas.openxmlformats.org/drawingml/2006/main" name="4_HPE Standard 16x9 Black Templat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">
      <a:majorFont>
        <a:latin typeface="MetricHPE Black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 anchor="ctr" anchorCtr="0">
        <a:noAutofit/>
      </a:bodyPr>
      <a:lstStyle>
        <a:defPPr algn="ctr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Black Template" id="{C22C3192-A93A-4AAC-B1D3-278E416063BF}" vid="{EE8CA267-1D7E-4187-A31B-6CA2AC5EC497}"/>
    </a:ext>
  </a:extLst>
</a:theme>
</file>

<file path=ppt/theme/theme11.xml><?xml version="1.0" encoding="utf-8"?>
<a:theme xmlns:a="http://schemas.openxmlformats.org/drawingml/2006/main" name="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White Template" id="{95AD0B46-8996-43D6-A757-ECCCFC03F9B8}" vid="{83FBB3FB-0FD9-4489-83E5-958E13ED0952}"/>
    </a:ext>
  </a:extLst>
</a:theme>
</file>

<file path=ppt/theme/theme12.xml><?xml version="1.0" encoding="utf-8"?>
<a:theme xmlns:a="http://schemas.openxmlformats.org/drawingml/2006/main" name="3_HPE Standard 16x9 Black Templat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">
      <a:majorFont>
        <a:latin typeface="MetricHPE Black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 anchor="ctr" anchorCtr="0">
        <a:noAutofit/>
      </a:bodyPr>
      <a:lstStyle>
        <a:defPPr algn="ctr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Black Template" id="{C22C3192-A93A-4AAC-B1D3-278E416063BF}" vid="{EE8CA267-1D7E-4187-A31B-6CA2AC5EC497}"/>
    </a:ext>
  </a:extLst>
</a:theme>
</file>

<file path=ppt/theme/theme13.xml><?xml version="1.0" encoding="utf-8"?>
<a:theme xmlns:a="http://schemas.openxmlformats.org/drawingml/2006/main" name="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White Template" id="{95AD0B46-8996-43D6-A757-ECCCFC03F9B8}" vid="{83FBB3FB-0FD9-4489-83E5-958E13ED0952}"/>
    </a:ext>
  </a:extLst>
</a:theme>
</file>

<file path=ppt/theme/theme14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</a:theme>
</file>

<file path=ppt/theme/theme2.xml><?xml version="1.0" encoding="utf-8"?>
<a:theme xmlns:a="http://schemas.openxmlformats.org/drawingml/2006/main" name="10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47D522F7-1749-4ADC-8F49-3278142C3D39}" vid="{824A8022-150D-4C45-98A5-5941DE677E57}"/>
    </a:ext>
  </a:extLst>
</a:theme>
</file>

<file path=ppt/theme/theme3.xml><?xml version="1.0" encoding="utf-8"?>
<a:theme xmlns:a="http://schemas.openxmlformats.org/drawingml/2006/main" name="1_HPE Standard 16x9 Black Templat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">
      <a:majorFont>
        <a:latin typeface="MetricHPE Black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 anchor="ctr" anchorCtr="0">
        <a:noAutofit/>
      </a:bodyPr>
      <a:lstStyle>
        <a:defPPr algn="ctr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Black Template" id="{C22C3192-A93A-4AAC-B1D3-278E416063BF}" vid="{EE8CA267-1D7E-4187-A31B-6CA2AC5EC497}"/>
    </a:ext>
  </a:extLst>
</a:theme>
</file>

<file path=ppt/theme/theme4.xml><?xml version="1.0" encoding="utf-8"?>
<a:theme xmlns:a="http://schemas.openxmlformats.org/drawingml/2006/main" name="2_HPE Standard 16x9 Black Templat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">
      <a:majorFont>
        <a:latin typeface="MetricHPE Black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 anchor="ctr" anchorCtr="0">
        <a:noAutofit/>
      </a:bodyPr>
      <a:lstStyle>
        <a:defPPr algn="ctr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Black Template" id="{C22C3192-A93A-4AAC-B1D3-278E416063BF}" vid="{EE8CA267-1D7E-4187-A31B-6CA2AC5EC497}"/>
    </a:ext>
  </a:extLst>
</a:theme>
</file>

<file path=ppt/theme/theme5.xml><?xml version="1.0" encoding="utf-8"?>
<a:theme xmlns:a="http://schemas.openxmlformats.org/drawingml/2006/main" name="1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2" id="{0AA1B7F7-C4CD-4B47-B4C0-86985FF68A2F}" vid="{38EE999C-CF37-439E-9FFB-D2F5EC6988C3}"/>
    </a:ext>
  </a:extLst>
</a:theme>
</file>

<file path=ppt/theme/theme6.xml><?xml version="1.0" encoding="utf-8"?>
<a:theme xmlns:a="http://schemas.openxmlformats.org/drawingml/2006/main" name="5_HPE Standard 16x9 Black Templat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">
      <a:majorFont>
        <a:latin typeface="MetricHPE Black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 anchor="ctr" anchorCtr="0">
        <a:noAutofit/>
      </a:bodyPr>
      <a:lstStyle>
        <a:defPPr algn="ctr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3" id="{B704D886-5816-4E89-9C53-67DE1E4119FE}" vid="{A2233D40-BCC9-4458-8971-58FE9BE34804}"/>
    </a:ext>
  </a:extLst>
</a:theme>
</file>

<file path=ppt/theme/theme7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47D522F7-1749-4ADC-8F49-3278142C3D39}" vid="{824A8022-150D-4C45-98A5-5941DE677E57}"/>
    </a:ext>
  </a:extLst>
</a:theme>
</file>

<file path=ppt/theme/theme8.xml><?xml version="1.0" encoding="utf-8"?>
<a:theme xmlns:a="http://schemas.openxmlformats.org/drawingml/2006/main" name="11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47D522F7-1749-4ADC-8F49-3278142C3D39}" vid="{824A8022-150D-4C45-98A5-5941DE677E57}"/>
    </a:ext>
  </a:extLst>
</a:theme>
</file>

<file path=ppt/theme/theme9.xml><?xml version="1.0" encoding="utf-8"?>
<a:theme xmlns:a="http://schemas.openxmlformats.org/drawingml/2006/main" name="2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47D522F7-1749-4ADC-8F49-3278142C3D39}" vid="{824A8022-150D-4C45-98A5-5941DE677E5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E883EF9981144DA8D9D473A3A5CC1B" ma:contentTypeVersion="9" ma:contentTypeDescription="Create a new document." ma:contentTypeScope="" ma:versionID="0115cff10020aba01df5d09592b2fe54">
  <xsd:schema xmlns:xsd="http://www.w3.org/2001/XMLSchema" xmlns:xs="http://www.w3.org/2001/XMLSchema" xmlns:p="http://schemas.microsoft.com/office/2006/metadata/properties" xmlns:ns2="b76fa49b-ca84-4fa5-afc5-c122dc1b0a3e" xmlns:ns3="b6a37b22-a085-4a6e-b96b-35b6848742fd" targetNamespace="http://schemas.microsoft.com/office/2006/metadata/properties" ma:root="true" ma:fieldsID="3963cd187323709ea3ae811b0eb8e469" ns2:_="" ns3:_="">
    <xsd:import namespace="b76fa49b-ca84-4fa5-afc5-c122dc1b0a3e"/>
    <xsd:import namespace="b6a37b22-a085-4a6e-b96b-35b6848742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6fa49b-ca84-4fa5-afc5-c122dc1b0a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a37b22-a085-4a6e-b96b-35b6848742f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BE02F6-A198-4F83-B640-7340A0DBCE12}">
  <ds:schemaRefs>
    <ds:schemaRef ds:uri="b6a37b22-a085-4a6e-b96b-35b6848742fd"/>
    <ds:schemaRef ds:uri="b76fa49b-ca84-4fa5-afc5-c122dc1b0a3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D48C14B-6C9D-4F34-ABAC-956B46B8B5C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3B8174A-34A5-4481-94DB-BA344C1A84B7}">
  <ds:schemaRefs>
    <ds:schemaRef ds:uri="b6a37b22-a085-4a6e-b96b-35b6848742fd"/>
    <ds:schemaRef ds:uri="b76fa49b-ca84-4fa5-afc5-c122dc1b0a3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e-standard-16x9-black-template-1624878197264</Template>
  <TotalTime>233</TotalTime>
  <Words>1221</Words>
  <Application>Microsoft Office PowerPoint</Application>
  <PresentationFormat>Widescreen</PresentationFormat>
  <Paragraphs>164</Paragraphs>
  <Slides>2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3" baseType="lpstr">
      <vt:lpstr>Wingdings</vt:lpstr>
      <vt:lpstr>Roboto</vt:lpstr>
      <vt:lpstr>Calibri</vt:lpstr>
      <vt:lpstr>Arial</vt:lpstr>
      <vt:lpstr>MetricHPE Black</vt:lpstr>
      <vt:lpstr>MetricHPE</vt:lpstr>
      <vt:lpstr>HPE Standard 16x9 Black Template</vt:lpstr>
      <vt:lpstr>10_HPE_Standard_Metric_16x9_080117</vt:lpstr>
      <vt:lpstr>1_HPE Standard 16x9 Black Template</vt:lpstr>
      <vt:lpstr>2_HPE Standard 16x9 Black Template</vt:lpstr>
      <vt:lpstr>1_HPE_Standard_Metric_16x9_080117</vt:lpstr>
      <vt:lpstr>5_HPE Standard 16x9 Black Template</vt:lpstr>
      <vt:lpstr>HPE_Standard_Metric_16x9_080117</vt:lpstr>
      <vt:lpstr>11_HPE_Standard_Metric_16x9_080117</vt:lpstr>
      <vt:lpstr>2_HPE_Standard_Metric_16x9_080117</vt:lpstr>
      <vt:lpstr>4_HPE Standard 16x9 Black Template</vt:lpstr>
      <vt:lpstr>HPE Standard 16x9 White Template</vt:lpstr>
      <vt:lpstr>3_HPE Standard 16x9 Black Template</vt:lpstr>
      <vt:lpstr>HPE Standard 16x9 White Template</vt:lpstr>
      <vt:lpstr>think-cell Slide</vt:lpstr>
      <vt:lpstr>Generative Adversarial Network (GAN)  As A HPE GreenLake Service</vt:lpstr>
      <vt:lpstr>SECTION 1</vt:lpstr>
      <vt:lpstr>GENERATIVE AI</vt:lpstr>
      <vt:lpstr>SYNTHETIC DATA</vt:lpstr>
      <vt:lpstr>ISSUES WITH EXISTING DATA</vt:lpstr>
      <vt:lpstr>SECTION 2</vt:lpstr>
      <vt:lpstr>GAN GENERATED IMAGES</vt:lpstr>
      <vt:lpstr>AI-GENERATED PORTRAIT FETCHES $432,500 AT AUCTION</vt:lpstr>
      <vt:lpstr> BRAIN TUMOR IMAGE GENERATION USING AN AGGREGATION OF GAN MODELS WITH STYLE TRANSFER</vt:lpstr>
      <vt:lpstr>SECTION 3</vt:lpstr>
      <vt:lpstr>GAN ARCHITECTURE</vt:lpstr>
      <vt:lpstr>HOW DOES IT WORK?</vt:lpstr>
      <vt:lpstr>USE CASES</vt:lpstr>
      <vt:lpstr>SECTION 3</vt:lpstr>
      <vt:lpstr>PROPOSED APPROACH</vt:lpstr>
      <vt:lpstr>OUR SOLUTION</vt:lpstr>
      <vt:lpstr>END USER ADVANTAGES  with GAN As A Service</vt:lpstr>
      <vt:lpstr>COMPETITIVE OFFERINGS</vt:lpstr>
      <vt:lpstr>SECTION 4</vt:lpstr>
      <vt:lpstr>NEXT STEPS</vt:lpstr>
      <vt:lpstr>ACKNOWLEDGEMENTS</vt:lpstr>
      <vt:lpstr>REFERENCES</vt:lpstr>
      <vt:lpstr>Thank you</vt:lpstr>
    </vt:vector>
  </TitlesOfParts>
  <Company>Hewlett Packard Enterpri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PE GreenLake for Compute Ops Manager Sales Presentation</dc:title>
  <dc:subject>The next Evolution of Compute lifecycle Management transforms your entire environment to simplify, unify and secure Compute management. All delivered though an as-a-service experience. One console to manage your compute infrastructure, wherever it lives  [edge, remote sites, data centers, hybrid cloud], Act faster with real time management, Add tens' of thousands of devices easily. Securely bring cloud agility to distributed compute infrastructure.</dc:subject>
  <dc:creator>debbie.bloomer@hpe.com</dc:creator>
  <cp:keywords>Compute lifecycle management, compute, ProLiant, server management, OneView, cloud services, HPE GreenLake, GreenLake cloud platform, aaS, cloud native, Seismic, a50006687enw</cp:keywords>
  <cp:lastModifiedBy>Ravishankar, Sriram</cp:lastModifiedBy>
  <cp:revision>144</cp:revision>
  <dcterms:created xsi:type="dcterms:W3CDTF">2021-07-02T06:06:56Z</dcterms:created>
  <dcterms:modified xsi:type="dcterms:W3CDTF">2023-04-25T14:3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289701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7</vt:lpwstr>
  </property>
  <property fmtid="{D5CDD505-2E9C-101B-9397-08002B2CF9AE}" pid="5" name="ContentTypeId">
    <vt:lpwstr>0x01010052E883EF9981144DA8D9D473A3A5CC1B</vt:lpwstr>
  </property>
</Properties>
</file>